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2.xml" ContentType="application/vnd.openxmlformats-officedocument.presentationml.tags+xml"/>
  <Override PartName="/ppt/notesSlides/notesSlide3.xml" ContentType="application/vnd.openxmlformats-officedocument.presentationml.notesSlide+xml"/>
  <Override PartName="/ppt/tags/tag2783.xml" ContentType="application/vnd.openxmlformats-officedocument.presentationml.tags+xml"/>
  <Override PartName="/ppt/notesSlides/notesSlide4.xml" ContentType="application/vnd.openxmlformats-officedocument.presentationml.notesSlide+xml"/>
  <Override PartName="/ppt/tags/tag278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85.xml" ContentType="application/vnd.openxmlformats-officedocument.presentationml.tags+xml"/>
  <Override PartName="/ppt/notesSlides/notesSlide9.xml" ContentType="application/vnd.openxmlformats-officedocument.presentationml.notesSlide+xml"/>
  <Override PartName="/ppt/tags/tag2786.xml" ContentType="application/vnd.openxmlformats-officedocument.presentationml.tags+xml"/>
  <Override PartName="/ppt/notesSlides/notesSlide10.xml" ContentType="application/vnd.openxmlformats-officedocument.presentationml.notesSlide+xml"/>
  <Override PartName="/ppt/tags/tag278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88.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9.xml" ContentType="application/vnd.openxmlformats-officedocument.presentationml.tags+xml"/>
  <Override PartName="/ppt/notesSlides/notesSlide14.xml" ContentType="application/vnd.openxmlformats-officedocument.presentationml.notesSlide+xml"/>
  <Override PartName="/ppt/tags/tag2790.xml" ContentType="application/vnd.openxmlformats-officedocument.presentationml.tags+xml"/>
  <Override PartName="/ppt/notesSlides/notesSlide15.xml" ContentType="application/vnd.openxmlformats-officedocument.presentationml.notesSlide+xml"/>
  <Override PartName="/ppt/tags/tag279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792.xml" ContentType="application/vnd.openxmlformats-officedocument.presentationml.tags+xml"/>
  <Override PartName="/ppt/notesSlides/notesSlide18.xml" ContentType="application/vnd.openxmlformats-officedocument.presentationml.notesSlide+xml"/>
  <Override PartName="/ppt/tags/tag2793.xml" ContentType="application/vnd.openxmlformats-officedocument.presentationml.tags+xml"/>
  <Override PartName="/ppt/notesSlides/notesSlide19.xml" ContentType="application/vnd.openxmlformats-officedocument.presentationml.notesSlide+xml"/>
  <Override PartName="/ppt/tags/tag279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795.xml" ContentType="application/vnd.openxmlformats-officedocument.presentationml.tags+xml"/>
  <Override PartName="/ppt/notesSlides/notesSlide22.xml" ContentType="application/vnd.openxmlformats-officedocument.presentationml.notesSlide+xml"/>
  <Override PartName="/ppt/tags/tag2796.xml" ContentType="application/vnd.openxmlformats-officedocument.presentationml.tags+xml"/>
  <Override PartName="/ppt/notesSlides/notesSlide23.xml" ContentType="application/vnd.openxmlformats-officedocument.presentationml.notesSlide+xml"/>
  <Override PartName="/ppt/tags/tag2797.xml" ContentType="application/vnd.openxmlformats-officedocument.presentationml.tags+xml"/>
  <Override PartName="/ppt/notesSlides/notesSlide24.xml" ContentType="application/vnd.openxmlformats-officedocument.presentationml.notesSlide+xml"/>
  <Override PartName="/ppt/tags/tag2798.xml" ContentType="application/vnd.openxmlformats-officedocument.presentationml.tags+xml"/>
  <Override PartName="/ppt/notesSlides/notesSlide25.xml" ContentType="application/vnd.openxmlformats-officedocument.presentationml.notesSlide+xml"/>
  <Override PartName="/ppt/tags/tag2799.xml" ContentType="application/vnd.openxmlformats-officedocument.presentationml.tags+xml"/>
  <Override PartName="/ppt/notesSlides/notesSlide26.xml" ContentType="application/vnd.openxmlformats-officedocument.presentationml.notesSlide+xml"/>
  <Override PartName="/ppt/tags/tag2800.xml" ContentType="application/vnd.openxmlformats-officedocument.presentationml.tags+xml"/>
  <Override PartName="/ppt/notesSlides/notesSlide27.xml" ContentType="application/vnd.openxmlformats-officedocument.presentationml.notesSlide+xml"/>
  <Override PartName="/ppt/tags/tag2801.xml" ContentType="application/vnd.openxmlformats-officedocument.presentationml.tags+xml"/>
  <Override PartName="/ppt/notesSlides/notesSlide28.xml" ContentType="application/vnd.openxmlformats-officedocument.presentationml.notesSlide+xml"/>
  <Override PartName="/ppt/tags/tag2802.xml" ContentType="application/vnd.openxmlformats-officedocument.presentationml.tags+xml"/>
  <Override PartName="/ppt/notesSlides/notesSlide29.xml" ContentType="application/vnd.openxmlformats-officedocument.presentationml.notesSlide+xml"/>
  <Override PartName="/ppt/tags/tag2803.xml" ContentType="application/vnd.openxmlformats-officedocument.presentationml.tags+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04.xml" ContentType="application/vnd.openxmlformats-officedocument.presentationml.tags+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805.xml" ContentType="application/vnd.openxmlformats-officedocument.presentationml.tags+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806.xml" ContentType="application/vnd.openxmlformats-officedocument.presentationml.tags+xml"/>
  <Override PartName="/ppt/notesSlides/notesSlide33.xml" ContentType="application/vnd.openxmlformats-officedocument.presentationml.notesSlide+xml"/>
  <Override PartName="/ppt/tags/tag2807.xml" ContentType="application/vnd.openxmlformats-officedocument.presentationml.tags+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08.xml" ContentType="application/vnd.openxmlformats-officedocument.presentationml.tags+xml"/>
  <Override PartName="/ppt/notesSlides/notesSlide3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809.xml" ContentType="application/vnd.openxmlformats-officedocument.presentationml.tags+xml"/>
  <Override PartName="/ppt/notesSlides/notesSlide3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810.xml" ContentType="application/vnd.openxmlformats-officedocument.presentationml.tags+xml"/>
  <Override PartName="/ppt/notesSlides/notesSlide3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811.xml" ContentType="application/vnd.openxmlformats-officedocument.presentationml.tags+xml"/>
  <Override PartName="/ppt/notesSlides/notesSlide3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9.xml" ContentType="application/vnd.openxmlformats-officedocument.presentationml.notesSlide+xml"/>
  <Override PartName="/ppt/tags/tag2812.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34"/>
  </p:notesMasterIdLst>
  <p:handoutMasterIdLst>
    <p:handoutMasterId r:id="rId135"/>
  </p:handoutMasterIdLst>
  <p:sldIdLst>
    <p:sldId id="311" r:id="rId74"/>
    <p:sldId id="596" r:id="rId75"/>
    <p:sldId id="531" r:id="rId76"/>
    <p:sldId id="594" r:id="rId77"/>
    <p:sldId id="595" r:id="rId78"/>
    <p:sldId id="455" r:id="rId79"/>
    <p:sldId id="454" r:id="rId80"/>
    <p:sldId id="456" r:id="rId81"/>
    <p:sldId id="576" r:id="rId82"/>
    <p:sldId id="589" r:id="rId83"/>
    <p:sldId id="592" r:id="rId84"/>
    <p:sldId id="593" r:id="rId85"/>
    <p:sldId id="579" r:id="rId86"/>
    <p:sldId id="590" r:id="rId87"/>
    <p:sldId id="591" r:id="rId88"/>
    <p:sldId id="584" r:id="rId89"/>
    <p:sldId id="585" r:id="rId90"/>
    <p:sldId id="586" r:id="rId91"/>
    <p:sldId id="587" r:id="rId92"/>
    <p:sldId id="588" r:id="rId93"/>
    <p:sldId id="597" r:id="rId94"/>
    <p:sldId id="598" r:id="rId95"/>
    <p:sldId id="599" r:id="rId96"/>
    <p:sldId id="600" r:id="rId97"/>
    <p:sldId id="601" r:id="rId98"/>
    <p:sldId id="602" r:id="rId99"/>
    <p:sldId id="603" r:id="rId100"/>
    <p:sldId id="604" r:id="rId101"/>
    <p:sldId id="605" r:id="rId102"/>
    <p:sldId id="606" r:id="rId103"/>
    <p:sldId id="607" r:id="rId104"/>
    <p:sldId id="608" r:id="rId105"/>
    <p:sldId id="609" r:id="rId106"/>
    <p:sldId id="610" r:id="rId107"/>
    <p:sldId id="611" r:id="rId108"/>
    <p:sldId id="612" r:id="rId109"/>
    <p:sldId id="613" r:id="rId110"/>
    <p:sldId id="614" r:id="rId111"/>
    <p:sldId id="615" r:id="rId112"/>
    <p:sldId id="616" r:id="rId113"/>
    <p:sldId id="617" r:id="rId114"/>
    <p:sldId id="618" r:id="rId115"/>
    <p:sldId id="619" r:id="rId116"/>
    <p:sldId id="620" r:id="rId117"/>
    <p:sldId id="566" r:id="rId118"/>
    <p:sldId id="567" r:id="rId119"/>
    <p:sldId id="568" r:id="rId120"/>
    <p:sldId id="569" r:id="rId121"/>
    <p:sldId id="570" r:id="rId122"/>
    <p:sldId id="571" r:id="rId123"/>
    <p:sldId id="572" r:id="rId124"/>
    <p:sldId id="573" r:id="rId125"/>
    <p:sldId id="574" r:id="rId126"/>
    <p:sldId id="575" r:id="rId127"/>
    <p:sldId id="578" r:id="rId128"/>
    <p:sldId id="577" r:id="rId129"/>
    <p:sldId id="581" r:id="rId130"/>
    <p:sldId id="582" r:id="rId131"/>
    <p:sldId id="583" r:id="rId132"/>
    <p:sldId id="329" r:id="rId133"/>
  </p:sldIdLst>
  <p:sldSz cx="9906000" cy="6858000" type="A4"/>
  <p:notesSz cx="6797675" cy="9874250"/>
  <p:custDataLst>
    <p:tags r:id="rId1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75" d="100"/>
          <a:sy n="75" d="100"/>
        </p:scale>
        <p:origin x="-2034" y="-3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viewProps" Target="viewProp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notesMaster" Target="notesMasters/notesMaster1.xml"/><Relationship Id="rId13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tags" Target="tags/tag1.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s>
</file>

<file path=ppt/diagrams/_rels/data2.xml.rels><?xml version="1.0" encoding="UTF-8" standalone="yes"?>
<Relationships xmlns="http://schemas.openxmlformats.org/package/2006/relationships"><Relationship Id="rId1" Type="http://schemas.openxmlformats.org/officeDocument/2006/relationships/image" Target="../media/image68.png"/></Relationships>
</file>

<file path=ppt/diagrams/_rels/data4.xml.rels><?xml version="1.0" encoding="UTF-8" standalone="yes"?>
<Relationships xmlns="http://schemas.openxmlformats.org/package/2006/relationships"><Relationship Id="rId1" Type="http://schemas.openxmlformats.org/officeDocument/2006/relationships/image" Target="../media/image82.png"/></Relationships>
</file>

<file path=ppt/diagrams/_rels/data5.xml.rels><?xml version="1.0" encoding="UTF-8" standalone="yes"?>
<Relationships xmlns="http://schemas.openxmlformats.org/package/2006/relationships"><Relationship Id="rId1" Type="http://schemas.openxmlformats.org/officeDocument/2006/relationships/image" Target="../media/image83.png"/></Relationships>
</file>

<file path=ppt/diagrams/_rels/data8.xml.rels><?xml version="1.0" encoding="UTF-8" standalone="yes"?>
<Relationships xmlns="http://schemas.openxmlformats.org/package/2006/relationships"><Relationship Id="rId1" Type="http://schemas.openxmlformats.org/officeDocument/2006/relationships/image" Target="../media/image85.png"/></Relationships>
</file>

<file path=ppt/diagrams/_rels/data9.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8.png"/></Relationships>
</file>

<file path=ppt/diagrams/_rels/drawing4.xml.rels><?xml version="1.0" encoding="UTF-8" standalone="yes"?>
<Relationships xmlns="http://schemas.openxmlformats.org/package/2006/relationships"><Relationship Id="rId1" Type="http://schemas.openxmlformats.org/officeDocument/2006/relationships/image" Target="../media/image82.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3.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5.png"/></Relationships>
</file>

<file path=ppt/diagrams/_rels/drawing9.xml.rels><?xml version="1.0" encoding="UTF-8" standalone="yes"?>
<Relationships xmlns="http://schemas.openxmlformats.org/package/2006/relationships"><Relationship Id="rId1" Type="http://schemas.openxmlformats.org/officeDocument/2006/relationships/image" Target="../media/image86.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Not 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31D2ED7C-D55B-4C59-8711-F67A52538ADA}" type="presOf" srcId="{110C893C-510D-42C4-820E-32C1F0603EBD}" destId="{054509CB-1364-49EF-9F58-D56FA42AD00B}" srcOrd="0" destOrd="0" presId="urn:microsoft.com/office/officeart/2005/8/layout/vList2"/>
    <dgm:cxn modelId="{DAF80F4F-40AD-437B-81E3-314DF5C17632}" srcId="{6CDE262E-458D-44F3-9895-B44046B4C49D}" destId="{9AD4F48B-1F34-4380-965D-9D62AB5AC5B3}" srcOrd="2" destOrd="0" parTransId="{44ECECA0-9EB1-40AB-8D6E-CBC02D3E7E5A}" sibTransId="{BB42A31E-44FF-4EEF-BA59-CEF441D4313E}"/>
    <dgm:cxn modelId="{F84687B9-5842-451D-B6EF-AA5481C7F544}" type="presOf" srcId="{D6F36334-39F9-4CDB-94DB-47B33E9669F3}" destId="{019CC761-9441-43D7-8A85-9F9CE4D253FA}" srcOrd="0" destOrd="0" presId="urn:microsoft.com/office/officeart/2005/8/layout/vList2"/>
    <dgm:cxn modelId="{2DC88FA7-BBF4-40D2-AE82-248F9EBF0683}" srcId="{6CDE262E-458D-44F3-9895-B44046B4C49D}" destId="{D6F36334-39F9-4CDB-94DB-47B33E9669F3}" srcOrd="0" destOrd="0" parTransId="{B32B9A37-F5C2-4192-8CC9-37643C139617}" sibTransId="{201279F3-90E1-49A6-B9C5-B61A5F08EBF0}"/>
    <dgm:cxn modelId="{ABEB3D34-E31C-4916-9237-113CE0245104}" type="presOf" srcId="{9AD4F48B-1F34-4380-965D-9D62AB5AC5B3}" destId="{D5A187E9-5879-4DF8-BBB3-3335B545CAF7}" srcOrd="0" destOrd="0" presId="urn:microsoft.com/office/officeart/2005/8/layout/vList2"/>
    <dgm:cxn modelId="{BBF9996B-7398-4662-90A7-F086777270AF}" type="presOf" srcId="{6CDE262E-458D-44F3-9895-B44046B4C49D}" destId="{3775C512-9507-4EF7-B7AE-6227866D6481}"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1735DDC6-4A1F-4CD3-ABAF-AF0FA598C144}" type="presParOf" srcId="{3775C512-9507-4EF7-B7AE-6227866D6481}" destId="{019CC761-9441-43D7-8A85-9F9CE4D253FA}" srcOrd="0" destOrd="0" presId="urn:microsoft.com/office/officeart/2005/8/layout/vList2"/>
    <dgm:cxn modelId="{746C9788-82FE-4D0E-9ACA-9B11555531ED}" type="presParOf" srcId="{3775C512-9507-4EF7-B7AE-6227866D6481}" destId="{F1A0D1DB-F684-4991-B66C-9625ABDF5E56}" srcOrd="1" destOrd="0" presId="urn:microsoft.com/office/officeart/2005/8/layout/vList2"/>
    <dgm:cxn modelId="{90EB516E-DA98-42F2-A785-33AC6C4B94E9}" type="presParOf" srcId="{3775C512-9507-4EF7-B7AE-6227866D6481}" destId="{054509CB-1364-49EF-9F58-D56FA42AD00B}" srcOrd="2" destOrd="0" presId="urn:microsoft.com/office/officeart/2005/8/layout/vList2"/>
    <dgm:cxn modelId="{A755E981-5C80-4E7F-911D-DE54BF7D36A6}" type="presParOf" srcId="{3775C512-9507-4EF7-B7AE-6227866D6481}" destId="{DE9333B5-C6C3-4761-A984-9BBB24694FB1}" srcOrd="3" destOrd="0" presId="urn:microsoft.com/office/officeart/2005/8/layout/vList2"/>
    <dgm:cxn modelId="{78049696-4F49-421F-97D1-D632CF0A2093}"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96BD990F-7F89-446E-BF04-5FD538E6FFD5}" type="presOf" srcId="{BA312EC7-BDBA-46CE-B459-9BB2BB38F5A1}" destId="{B954C7A5-3D3A-48AE-ADE9-5702165AE0DF}" srcOrd="0" destOrd="0" presId="urn:microsoft.com/office/officeart/2005/8/layout/vList2"/>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F9BB6C7D-DDA9-44DA-BF30-06EDB69C801F}" srcId="{BA312EC7-BDBA-46CE-B459-9BB2BB38F5A1}" destId="{2FAE0F75-FB76-4616-8E45-D436D83CA32D}" srcOrd="2" destOrd="0" parTransId="{1E27486A-1740-480E-984A-49C180E526E4}" sibTransId="{8F9BB3BF-89AC-41D8-BFFD-422FE438089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543D7FE8-E3F4-424D-88BA-8209499EF70F}" type="presOf" srcId="{2D27346F-AE2C-4385-A8AA-737BCAD22D2E}" destId="{5F2789C7-BE31-41EB-ACF0-859801F8F902}" srcOrd="0" destOrd="0" presId="urn:microsoft.com/office/officeart/2005/8/layout/list1"/>
    <dgm:cxn modelId="{F285BEBE-C1E5-4B92-BEF2-58EE560A85C7}" type="presOf" srcId="{2D27346F-AE2C-4385-A8AA-737BCAD22D2E}" destId="{3F0F5514-5FAF-41D3-B463-67ACE710A63B}" srcOrd="1" destOrd="0" presId="urn:microsoft.com/office/officeart/2005/8/layout/list1"/>
    <dgm:cxn modelId="{ECFCDF91-6E13-46E5-B97F-37A9B87ED173}" srcId="{9F099A7D-6755-45ED-A8ED-07F4D1BC7C9F}" destId="{2D27346F-AE2C-4385-A8AA-737BCAD22D2E}" srcOrd="0" destOrd="0" parTransId="{521819D5-4CE6-4EB6-842B-1BDF891616AC}" sibTransId="{53F716AB-1C01-474B-B21C-2DD064177D68}"/>
    <dgm:cxn modelId="{B2F1A923-CCBE-486E-AC33-016136B0C535}" type="presOf" srcId="{9F099A7D-6755-45ED-A8ED-07F4D1BC7C9F}" destId="{D16B0CBC-5C2B-4FDC-8AA7-E24750D175F0}" srcOrd="0" destOrd="0" presId="urn:microsoft.com/office/officeart/2005/8/layout/list1"/>
    <dgm:cxn modelId="{8C528FA3-97C4-412A-9BFB-186F29C5FB35}" type="presParOf" srcId="{D16B0CBC-5C2B-4FDC-8AA7-E24750D175F0}" destId="{AB747D21-9C22-4866-B81E-571B8701B5A9}" srcOrd="0" destOrd="0" presId="urn:microsoft.com/office/officeart/2005/8/layout/list1"/>
    <dgm:cxn modelId="{B0C94CD6-6820-43C1-BC38-04CED9348B4F}" type="presParOf" srcId="{AB747D21-9C22-4866-B81E-571B8701B5A9}" destId="{5F2789C7-BE31-41EB-ACF0-859801F8F902}" srcOrd="0" destOrd="0" presId="urn:microsoft.com/office/officeart/2005/8/layout/list1"/>
    <dgm:cxn modelId="{9659519D-1FF7-48A0-8655-FA006D990D02}" type="presParOf" srcId="{AB747D21-9C22-4866-B81E-571B8701B5A9}" destId="{3F0F5514-5FAF-41D3-B463-67ACE710A63B}" srcOrd="1" destOrd="0" presId="urn:microsoft.com/office/officeart/2005/8/layout/list1"/>
    <dgm:cxn modelId="{4710A793-D205-412E-9207-0DA011D88653}" type="presParOf" srcId="{D16B0CBC-5C2B-4FDC-8AA7-E24750D175F0}" destId="{88F86C63-D8C4-439C-BDFE-4841206A9C2D}" srcOrd="1" destOrd="0" presId="urn:microsoft.com/office/officeart/2005/8/layout/list1"/>
    <dgm:cxn modelId="{6ABD4780-D08E-4AB0-8C59-C6F582F9B105}"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D0DC9F75-281A-45FA-A315-15A31AD5F727}" type="presOf" srcId="{5567D415-EC93-4C2D-99E7-B2CBEB6A1CDA}" destId="{0EB0E548-E485-4EB9-B0C1-2F9E52C47E2F}"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598FB122-9651-450F-A12C-ADD4CFFB1BA4}" type="presOf" srcId="{2EED45D4-5BEE-4A76-AB0B-5267F693D98C}" destId="{759E5986-9C24-4689-8160-14522891BBD0}" srcOrd="0" destOrd="0" presId="urn:microsoft.com/office/officeart/2005/8/layout/lProcess2"/>
    <dgm:cxn modelId="{116216BF-6A93-4966-80EA-B5B4C1D2CF75}" type="presOf" srcId="{16EE8BBE-00A9-49D7-8067-0C6F2C908362}" destId="{99AC6874-402E-4103-9065-F8FDD2008E93}"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ECEAB49-6B90-4A17-ADCA-22C4C76816BF}" srcId="{0C1E61B3-512F-4FA7-BE9E-7D573BA3346F}" destId="{3CA8017C-E9A4-400C-8D72-03889E2C1308}" srcOrd="0" destOrd="0" parTransId="{0D8A0C41-72B6-4DAF-85F3-220674C43478}" sibTransId="{EF1C5094-8747-45F7-847D-9736EF7319B5}"/>
    <dgm:cxn modelId="{2715D21F-4ACC-4CFA-99B0-E1CB9D9D1B9B}" srcId="{0C1E61B3-512F-4FA7-BE9E-7D573BA3346F}" destId="{2641E4EC-B094-4655-9A18-5AEA15ADA785}" srcOrd="3" destOrd="0" parTransId="{7E45DB5F-1004-4FE1-9558-3289371F5412}" sibTransId="{D9E02321-27F0-4120-AAA6-912E98921178}"/>
    <dgm:cxn modelId="{6B52BCCB-D628-44DE-A95D-5D478D48B674}" srcId="{0C1E61B3-512F-4FA7-BE9E-7D573BA3346F}" destId="{92C4C8A5-71F8-40AF-9C49-82264E856E8E}" srcOrd="4" destOrd="0" parTransId="{FFD49C86-F581-4839-9CBB-4A9DEF1636DD}" sibTransId="{1923168E-82F0-47D8-A86C-A5341809FCE0}"/>
    <dgm:cxn modelId="{C83DFD83-F433-4E05-BF0B-331C2E64EBB5}" type="presOf" srcId="{0C1E61B3-512F-4FA7-BE9E-7D573BA3346F}" destId="{F9E3D432-0143-4025-A76F-3CB86178DA77}" srcOrd="1"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3A1ED9D2-D8A7-4B36-A8FD-7716C0699F64}" type="presOf" srcId="{92C4C8A5-71F8-40AF-9C49-82264E856E8E}" destId="{D40E1E8F-8AD2-43DF-8483-2BC97B0A2D3C}" srcOrd="0" destOrd="0" presId="urn:microsoft.com/office/officeart/2005/8/layout/lProcess2"/>
    <dgm:cxn modelId="{F257FE19-FD70-4C3F-91DE-931255FCAD45}" type="presOf" srcId="{3CA8017C-E9A4-400C-8D72-03889E2C1308}" destId="{CB6CB1F1-E92A-46B9-B48E-4DC50F16CB38}"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7"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1BBF6327-33DD-468C-A7D6-1A117C805B7F}" srcId="{CA6C6C63-F70D-4465-BEBE-4E672C168216}" destId="{A741696C-0197-4982-A3F8-5D6435207763}" srcOrd="1" destOrd="0" parTransId="{2DAD63F9-5AD4-4F1F-AFC2-09D95BB411C0}" sibTransId="{4778CD07-03D5-4580-8A56-8D6EDCCCB062}"/>
    <dgm:cxn modelId="{A4857E38-C710-42EE-8CCA-60DFC073CF51}" type="presOf" srcId="{FF01ECF9-CF9B-4581-81C8-C9D7D1BFA577}" destId="{EF34F95F-9900-455C-97AA-FDAB3AE3AEBE}" srcOrd="1" destOrd="3" presId="urn:microsoft.com/office/officeart/2005/8/layout/vList4#7"/>
    <dgm:cxn modelId="{B259DDEA-8DFA-4297-B0FC-BB27044A855B}" type="presOf" srcId="{A741696C-0197-4982-A3F8-5D6435207763}" destId="{35983E14-7093-4298-B30D-8695D71E82FC}" srcOrd="0" destOrd="2" presId="urn:microsoft.com/office/officeart/2005/8/layout/vList4#7"/>
    <dgm:cxn modelId="{4709F2AA-065A-4E5B-90B3-F6748659A2AC}" srcId="{CA6C6C63-F70D-4465-BEBE-4E672C168216}" destId="{FF01ECF9-CF9B-4581-81C8-C9D7D1BFA577}" srcOrd="2" destOrd="0" parTransId="{21B97CF1-0735-4F7A-9028-32231C8FCF9B}" sibTransId="{86FC5063-D748-4B00-9601-DFB4756EAA0C}"/>
    <dgm:cxn modelId="{1603A9AE-63CC-4ED2-9099-7F3CD6D691DA}" type="presOf" srcId="{FF01ECF9-CF9B-4581-81C8-C9D7D1BFA577}" destId="{35983E14-7093-4298-B30D-8695D71E82FC}" srcOrd="0" destOrd="3" presId="urn:microsoft.com/office/officeart/2005/8/layout/vList4#7"/>
    <dgm:cxn modelId="{550288BC-A313-41D6-BCF6-31364FEE191B}" type="presOf" srcId="{CA6C6C63-F70D-4465-BEBE-4E672C168216}" destId="{35983E14-7093-4298-B30D-8695D71E82FC}" srcOrd="0" destOrd="0" presId="urn:microsoft.com/office/officeart/2005/8/layout/vList4#7"/>
    <dgm:cxn modelId="{1C0B71FD-9CFA-4F03-A8B5-C7E027C82C21}" type="presOf" srcId="{60C3686A-38C9-4147-AD6F-8AB31BDE1BD1}" destId="{EF34F95F-9900-455C-97AA-FDAB3AE3AEBE}" srcOrd="1" destOrd="4" presId="urn:microsoft.com/office/officeart/2005/8/layout/vList4#7"/>
    <dgm:cxn modelId="{D1CF3FD9-188E-4D71-8DF7-42063E9EB4EC}" type="presOf" srcId="{CA6C6C63-F70D-4465-BEBE-4E672C168216}" destId="{EF34F95F-9900-455C-97AA-FDAB3AE3AEBE}" srcOrd="1" destOrd="0" presId="urn:microsoft.com/office/officeart/2005/8/layout/vList4#7"/>
    <dgm:cxn modelId="{CC5AEEDD-F523-4B58-BEAF-24FFCFB24FA5}" type="presOf" srcId="{A741696C-0197-4982-A3F8-5D6435207763}" destId="{EF34F95F-9900-455C-97AA-FDAB3AE3AEBE}" srcOrd="1" destOrd="2" presId="urn:microsoft.com/office/officeart/2005/8/layout/vList4#7"/>
    <dgm:cxn modelId="{FF2E1924-9F78-4010-865F-7C5A675FEC64}" type="presOf" srcId="{66D774DF-A322-41BA-A7ED-373E1462C439}" destId="{EF34F95F-9900-455C-97AA-FDAB3AE3AEBE}" srcOrd="1" destOrd="1" presId="urn:microsoft.com/office/officeart/2005/8/layout/vList4#7"/>
    <dgm:cxn modelId="{D3D2C970-E06A-4ED9-B654-7DBC23B30C4F}" type="presOf" srcId="{AEF4595A-C8FA-4C7E-A98C-563B56353276}" destId="{1CECF0B1-CF70-4767-95E8-CF1381FBE634}" srcOrd="0" destOrd="0" presId="urn:microsoft.com/office/officeart/2005/8/layout/vList4#7"/>
    <dgm:cxn modelId="{5DE24D96-B010-4711-A15E-1331821E8481}" type="presOf" srcId="{60C3686A-38C9-4147-AD6F-8AB31BDE1BD1}" destId="{35983E14-7093-4298-B30D-8695D71E82FC}" srcOrd="0" destOrd="4" presId="urn:microsoft.com/office/officeart/2005/8/layout/vList4#7"/>
    <dgm:cxn modelId="{290A2736-F57E-450C-8700-E0533383ED6F}" srcId="{CA6C6C63-F70D-4465-BEBE-4E672C168216}" destId="{60C3686A-38C9-4147-AD6F-8AB31BDE1BD1}" srcOrd="3"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93434B6E-E60C-48C3-9F43-B4DDF321B4EB}" type="presOf" srcId="{66D774DF-A322-41BA-A7ED-373E1462C439}" destId="{35983E14-7093-4298-B30D-8695D71E82FC}" srcOrd="0" destOrd="1" presId="urn:microsoft.com/office/officeart/2005/8/layout/vList4#7"/>
    <dgm:cxn modelId="{A29181A4-F266-4711-944A-FF15778FE1A4}" type="presParOf" srcId="{1CECF0B1-CF70-4767-95E8-CF1381FBE634}" destId="{2EFE87F4-CF86-40A7-A95F-D5779B6A6492}" srcOrd="0" destOrd="0" presId="urn:microsoft.com/office/officeart/2005/8/layout/vList4#7"/>
    <dgm:cxn modelId="{5CC97B96-DBFA-4707-99FF-E0A59B923A67}" type="presParOf" srcId="{2EFE87F4-CF86-40A7-A95F-D5779B6A6492}" destId="{35983E14-7093-4298-B30D-8695D71E82FC}" srcOrd="0" destOrd="0" presId="urn:microsoft.com/office/officeart/2005/8/layout/vList4#7"/>
    <dgm:cxn modelId="{82BF32A6-D62B-4198-9DAA-4D040F82C507}" type="presParOf" srcId="{2EFE87F4-CF86-40A7-A95F-D5779B6A6492}" destId="{6DB07FC2-DB01-4F82-BC07-F35E7051AECE}" srcOrd="1" destOrd="0" presId="urn:microsoft.com/office/officeart/2005/8/layout/vList4#7"/>
    <dgm:cxn modelId="{E4E89802-E75D-47D9-90C1-4133B7425F63}" type="presParOf" srcId="{2EFE87F4-CF86-40A7-A95F-D5779B6A6492}" destId="{EF34F95F-9900-455C-97AA-FDAB3AE3AEBE}" srcOrd="2" destOrd="0" presId="urn:microsoft.com/office/officeart/2005/8/layout/vList4#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F4595A-C8FA-4C7E-A98C-563B56353276}" type="doc">
      <dgm:prSet loTypeId="urn:microsoft.com/office/officeart/2005/8/layout/vList4#8"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914477F-CC04-4A82-A3E1-C37DF0256FCE}" srcId="{CA6C6C63-F70D-4465-BEBE-4E672C168216}" destId="{026897DA-FA2E-4E0C-A959-57B410D22CFA}" srcOrd="1" destOrd="0" parTransId="{F592FDBB-2CAF-4B95-B6C3-ABB51F33568A}" sibTransId="{CD5F382D-1354-48DE-A1BA-F9F5F6CE390F}"/>
    <dgm:cxn modelId="{37F6C282-DFCC-4D30-95D2-EDA4CF5897BA}" type="presOf" srcId="{026897DA-FA2E-4E0C-A959-57B410D22CFA}" destId="{35983E14-7093-4298-B30D-8695D71E82FC}" srcOrd="0" destOrd="2" presId="urn:microsoft.com/office/officeart/2005/8/layout/vList4#8"/>
    <dgm:cxn modelId="{B738049D-E191-471D-9AC4-0A1E02E9946C}" type="presOf" srcId="{026897DA-FA2E-4E0C-A959-57B410D22CFA}" destId="{EF34F95F-9900-455C-97AA-FDAB3AE3AEBE}" srcOrd="1" destOrd="2" presId="urn:microsoft.com/office/officeart/2005/8/layout/vList4#8"/>
    <dgm:cxn modelId="{D4E79652-C498-432F-8D06-DB793DDCE437}" type="presOf" srcId="{66D774DF-A322-41BA-A7ED-373E1462C439}" destId="{35983E14-7093-4298-B30D-8695D71E82FC}" srcOrd="0" destOrd="1" presId="urn:microsoft.com/office/officeart/2005/8/layout/vList4#8"/>
    <dgm:cxn modelId="{FA5AA77B-758F-4F25-9814-9F13A480E558}" type="presOf" srcId="{AEF4595A-C8FA-4C7E-A98C-563B56353276}" destId="{1CECF0B1-CF70-4767-95E8-CF1381FBE634}" srcOrd="0" destOrd="0" presId="urn:microsoft.com/office/officeart/2005/8/layout/vList4#8"/>
    <dgm:cxn modelId="{984E0786-FEA8-4584-A0AE-25A34D4F00BE}" srcId="{AEF4595A-C8FA-4C7E-A98C-563B56353276}" destId="{CA6C6C63-F70D-4465-BEBE-4E672C168216}" srcOrd="0" destOrd="0" parTransId="{3306D787-9F20-4D6D-9851-20FA0AF0D530}" sibTransId="{732BFF71-4FFD-438D-BEC1-AD49BF197A37}"/>
    <dgm:cxn modelId="{36A69E2E-52C5-4CDA-B02B-4FB7246CF7C5}" type="presOf" srcId="{CA6C6C63-F70D-4465-BEBE-4E672C168216}" destId="{EF34F95F-9900-455C-97AA-FDAB3AE3AEBE}" srcOrd="1" destOrd="0" presId="urn:microsoft.com/office/officeart/2005/8/layout/vList4#8"/>
    <dgm:cxn modelId="{5B16E460-6E2F-44AB-A7F2-3A7B12107B0A}" srcId="{CA6C6C63-F70D-4465-BEBE-4E672C168216}" destId="{66D774DF-A322-41BA-A7ED-373E1462C439}" srcOrd="0" destOrd="0" parTransId="{7118CDC3-D838-45EB-928A-E5403CEA1F38}" sibTransId="{73A6B20E-78C5-4D31-97FC-08B2D6BC8BB1}"/>
    <dgm:cxn modelId="{8A1DEE11-C386-4024-BDF3-198A7BCF7D4D}" type="presOf" srcId="{66D774DF-A322-41BA-A7ED-373E1462C439}" destId="{EF34F95F-9900-455C-97AA-FDAB3AE3AEBE}" srcOrd="1" destOrd="1" presId="urn:microsoft.com/office/officeart/2005/8/layout/vList4#8"/>
    <dgm:cxn modelId="{6CC8609E-9F37-4950-A358-708B4088A288}" type="presOf" srcId="{CA6C6C63-F70D-4465-BEBE-4E672C168216}" destId="{35983E14-7093-4298-B30D-8695D71E82FC}" srcOrd="0" destOrd="0" presId="urn:microsoft.com/office/officeart/2005/8/layout/vList4#8"/>
    <dgm:cxn modelId="{D7D4E009-04B1-4F94-8AAD-EE75CB2607B3}" type="presParOf" srcId="{1CECF0B1-CF70-4767-95E8-CF1381FBE634}" destId="{2EFE87F4-CF86-40A7-A95F-D5779B6A6492}" srcOrd="0" destOrd="0" presId="urn:microsoft.com/office/officeart/2005/8/layout/vList4#8"/>
    <dgm:cxn modelId="{AC0CC8E3-4DB2-4C19-BEE2-C1C55E972B07}" type="presParOf" srcId="{2EFE87F4-CF86-40A7-A95F-D5779B6A6492}" destId="{35983E14-7093-4298-B30D-8695D71E82FC}" srcOrd="0" destOrd="0" presId="urn:microsoft.com/office/officeart/2005/8/layout/vList4#8"/>
    <dgm:cxn modelId="{10E609FA-D758-4CC2-BB4A-B6C785654657}" type="presParOf" srcId="{2EFE87F4-CF86-40A7-A95F-D5779B6A6492}" destId="{6DB07FC2-DB01-4F82-BC07-F35E7051AECE}" srcOrd="1" destOrd="0" presId="urn:microsoft.com/office/officeart/2005/8/layout/vList4#8"/>
    <dgm:cxn modelId="{78359CEF-99A4-4E85-8227-98EA35676769}" type="presParOf" srcId="{2EFE87F4-CF86-40A7-A95F-D5779B6A6492}" destId="{EF34F95F-9900-455C-97AA-FDAB3AE3AEBE}" srcOrd="2" destOrd="0" presId="urn:microsoft.com/office/officeart/2005/8/layout/vList4#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7AA8A6FD-D074-4515-AE6C-F21CF479C23D}" type="presOf" srcId="{BA6E2F41-FAC4-4566-AC1D-3A4A90D96F12}" destId="{67CCCA4C-59AB-4BC6-9199-F32F598F5529}"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00C8C9F8-2CEB-4859-86D8-BE71EFF0E075}" srcId="{52A8F2F1-B08D-441F-AB28-EC4F813C82EE}" destId="{DB9C7844-C646-4890-9402-577933005A1A}" srcOrd="1" destOrd="0" parTransId="{5447B716-9319-470F-AB3E-9FC6EE1B7498}" sibTransId="{857A16AA-7E9D-4C58-A979-77D5475ACE40}"/>
    <dgm:cxn modelId="{5D5A6D2A-F79D-426B-B218-48F4AFB82903}" type="presOf" srcId="{744CBC10-9471-42A8-9D51-1BEC66E3CBE1}" destId="{201EAAEF-B0B8-4851-9D09-70689594ED0F}"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C050A293-C821-4FB0-B0B6-2E44DBAC7FBB}" type="presOf" srcId="{BDC23527-52D2-4587-B42C-027C6B48AE3C}" destId="{5B496C04-7A0C-4D8B-8244-8575B4F9D288}" srcOrd="0" destOrd="0" presId="urn:microsoft.com/office/officeart/2005/8/layout/vList2"/>
    <dgm:cxn modelId="{4D28F57B-9D02-4BB6-BBBB-3479DC72BC20}" srcId="{52A8F2F1-B08D-441F-AB28-EC4F813C82EE}" destId="{BDC23527-52D2-4587-B42C-027C6B48AE3C}" srcOrd="2" destOrd="0" parTransId="{D60E0CB4-C4AF-4753-882F-BDB299A139DB}" sibTransId="{06777FB1-A01C-4E44-83ED-224D4E26B9E3}"/>
    <dgm:cxn modelId="{FC00BC25-C2B5-415B-8694-BD37219CA743}" type="presOf" srcId="{DB9C7844-C646-4890-9402-577933005A1A}" destId="{9E9B2919-B761-4A74-8E54-8AEC3DF85B76}" srcOrd="0" destOrd="0" presId="urn:microsoft.com/office/officeart/2005/8/layout/vList2"/>
    <dgm:cxn modelId="{3B0B67D4-B683-4114-80CB-F787C36A3CC5}" type="presOf" srcId="{52A8F2F1-B08D-441F-AB28-EC4F813C82EE}" destId="{A6FA1D76-22FE-4268-8645-F0F8076CAACC}"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smtClean="0"/>
            <a:t>FxCop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smtClean="0"/>
            <a:t>FindBugs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85A9AA6A-CC49-4857-A122-3FD3EDF50E9C}" type="presOf" srcId="{7976D08B-CD75-4BD5-99A1-8F88224AB9CC}" destId="{5AC42099-5D21-46F9-8CC4-0B9EB9A7397E}" srcOrd="0" destOrd="0" presId="urn:microsoft.com/office/officeart/2005/8/layout/vList5"/>
    <dgm:cxn modelId="{5A9C3AED-D3DF-4622-A5D0-3103BABEC4ED}" srcId="{C80E7AF1-E10C-463C-8197-02E98D5C2CDA}" destId="{CA4006D8-6081-4333-909D-4912C5424A30}" srcOrd="1" destOrd="0" parTransId="{C3E7F5CF-DC39-4C88-AF88-D8D4B619AE88}" sibTransId="{381E1F23-1E73-4134-BBA3-E4A75EEDEC6F}"/>
    <dgm:cxn modelId="{793DA9D3-D76F-4073-BFBB-111C9D07D1AA}" type="presOf" srcId="{C80E7AF1-E10C-463C-8197-02E98D5C2CDA}" destId="{C176F13A-B990-4CD2-90D9-A16EB439FE69}" srcOrd="0" destOrd="0"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98F702D3-0B94-4AF4-918F-FD836D4E3B5E}" type="presOf" srcId="{A38C9635-406B-478C-BF11-3AEF2F83239C}" destId="{F16F2CA6-CE2C-40AA-97DA-9CFE85AFDD86}" srcOrd="0" destOrd="1" presId="urn:microsoft.com/office/officeart/2005/8/layout/vList5"/>
    <dgm:cxn modelId="{E2D8A429-9575-4242-8187-C18895CD3DB3}" type="presOf" srcId="{4C9C0FF1-AC8D-4705-A0A0-C0CB54C830A8}" destId="{F16F2CA6-CE2C-40AA-97DA-9CFE85AFDD86}" srcOrd="0" destOrd="0" presId="urn:microsoft.com/office/officeart/2005/8/layout/vList5"/>
    <dgm:cxn modelId="{A8F53DE2-2666-4734-B7D6-5D36AFC77616}" srcId="{B8003273-93A3-42A1-98C5-7FC988486DFE}" destId="{665AA877-6779-493E-8C1B-8995BE5A0143}" srcOrd="0" destOrd="0" parTransId="{18F85119-9D79-4211-9B24-6F4487345297}" sibTransId="{F847BADB-E9BF-48BD-8FD7-4B0F9B2FF1B8}"/>
    <dgm:cxn modelId="{2A38B7FB-BED2-4914-8D0C-6042EACC49AC}" srcId="{435A3D6A-3EFD-4A34-83D0-CCBA8FF51F85}" destId="{7976D08B-CD75-4BD5-99A1-8F88224AB9CC}" srcOrd="2" destOrd="0" parTransId="{1301C14F-16F2-486C-A12F-29C6AA34BCDA}" sibTransId="{DF2D842D-1280-4A98-97DC-CB4B03204123}"/>
    <dgm:cxn modelId="{36BF8F5C-D8D0-458B-A62A-B430CA5FE6EE}" type="presOf" srcId="{435A3D6A-3EFD-4A34-83D0-CCBA8FF51F85}" destId="{2E28B3E4-4010-4B91-B958-4E3E45703C84}" srcOrd="0" destOrd="0" presId="urn:microsoft.com/office/officeart/2005/8/layout/vList5"/>
    <dgm:cxn modelId="{31F47731-3B4E-4005-94D5-F4C927EA8CB8}" type="presOf" srcId="{CA4006D8-6081-4333-909D-4912C5424A30}" destId="{4331C456-DB02-4EEA-AD72-E44014830830}" srcOrd="0" destOrd="1" presId="urn:microsoft.com/office/officeart/2005/8/layout/vList5"/>
    <dgm:cxn modelId="{FBEA9981-BCA9-4E9F-9507-32195B79598A}" type="presOf" srcId="{665AA877-6779-493E-8C1B-8995BE5A0143}" destId="{BD7B85D9-73B5-45F3-A74D-DFDDDB957896}" srcOrd="0" destOrd="0" presId="urn:microsoft.com/office/officeart/2005/8/layout/vList5"/>
    <dgm:cxn modelId="{D49F7414-72F9-4EAF-9C4D-E02C77668F45}" type="presOf" srcId="{176FEEE6-8A27-491C-8F63-332C4ABA2604}" destId="{640A8811-A348-4284-A30C-2A9818F77475}" srcOrd="0" destOrd="0" presId="urn:microsoft.com/office/officeart/2005/8/layout/vList5"/>
    <dgm:cxn modelId="{CEBD3A3E-C45B-467F-A705-FE69C7BF6B9B}" type="presOf" srcId="{B8003273-93A3-42A1-98C5-7FC988486DFE}" destId="{3C419706-DD53-457D-B0E4-EDF4AA5A9AB9}"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F9DCCDAD-5D0B-4D79-8BAC-B726DED798CF}" srcId="{435A3D6A-3EFD-4A34-83D0-CCBA8FF51F85}" destId="{C80E7AF1-E10C-463C-8197-02E98D5C2CDA}" srcOrd="1" destOrd="0" parTransId="{C2C2BBED-3778-4366-8B87-DB385C1FEF4E}" sibTransId="{918B55CE-027F-4F37-BBE0-AB3399FE515F}"/>
    <dgm:cxn modelId="{523413EA-6285-4580-8F5D-48C9AE6B572F}" srcId="{7976D08B-CD75-4BD5-99A1-8F88224AB9CC}" destId="{A38C9635-406B-478C-BF11-3AEF2F83239C}" srcOrd="1" destOrd="0" parTransId="{AC306FC8-2EEA-4645-8702-2BF4801390CD}" sibTransId="{4778B691-78DB-40BB-9043-ED618CCB92DC}"/>
    <dgm:cxn modelId="{0227A2E6-2C2C-49DE-963D-9AC55A7EC762}" srcId="{7976D08B-CD75-4BD5-99A1-8F88224AB9CC}" destId="{4C9C0FF1-AC8D-4705-A0A0-C0CB54C830A8}" srcOrd="0" destOrd="0" parTransId="{E6D637D8-94F7-4769-91F1-990022CE84C9}" sibTransId="{9B0DCE72-1BF9-41F4-9D11-CF4DAB8C65C9}"/>
    <dgm:cxn modelId="{9791F10B-E301-4770-B1D1-C7747CA20C50}" srcId="{435A3D6A-3EFD-4A34-83D0-CCBA8FF51F85}" destId="{B8003273-93A3-42A1-98C5-7FC988486DFE}" srcOrd="3" destOrd="0" parTransId="{3B1DBE86-A730-4165-8ED6-130E647D7E29}" sibTransId="{F90BCFE5-9E98-47C7-839B-DF8105CC3724}"/>
    <dgm:cxn modelId="{4EDE64BA-45A6-400B-B250-6398FDB3772E}" srcId="{435A3D6A-3EFD-4A34-83D0-CCBA8FF51F85}" destId="{176FEEE6-8A27-491C-8F63-332C4ABA2604}" srcOrd="0" destOrd="0" parTransId="{B57E4006-215A-465C-85C8-ECD9B053D14C}" sibTransId="{F78014C9-A68F-4265-9406-D4C8BEDA7402}"/>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9"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8059D30-97F0-4339-9888-F2F7E5E3E7E3}" type="presOf" srcId="{CA6C6C63-F70D-4465-BEBE-4E672C168216}" destId="{EF34F95F-9900-455C-97AA-FDAB3AE3AEBE}" srcOrd="1" destOrd="0" presId="urn:microsoft.com/office/officeart/2005/8/layout/vList4#9"/>
    <dgm:cxn modelId="{D31914D7-E07F-4EFA-BBBB-AFFF3C58F51B}" type="presOf" srcId="{6429D079-FE5E-4118-9432-937476F7A1EF}" destId="{35983E14-7093-4298-B30D-8695D71E82FC}" srcOrd="0" destOrd="2" presId="urn:microsoft.com/office/officeart/2005/8/layout/vList4#9"/>
    <dgm:cxn modelId="{BDAE4D74-87FA-40F6-A924-3524015C92DA}" type="presOf" srcId="{6429D079-FE5E-4118-9432-937476F7A1EF}" destId="{EF34F95F-9900-455C-97AA-FDAB3AE3AEBE}" srcOrd="1" destOrd="2" presId="urn:microsoft.com/office/officeart/2005/8/layout/vList4#9"/>
    <dgm:cxn modelId="{081133BF-F1CE-4B57-8463-B80E2C094378}" type="presOf" srcId="{E70C601D-D310-4A0E-BDE5-DF00745DFB14}" destId="{35983E14-7093-4298-B30D-8695D71E82FC}" srcOrd="0" destOrd="3" presId="urn:microsoft.com/office/officeart/2005/8/layout/vList4#9"/>
    <dgm:cxn modelId="{89B9E637-34BF-491E-B5BE-9828E9F9C178}" type="presOf" srcId="{6069C34C-FB15-42D6-AA1D-5579B8EECFFE}" destId="{35983E14-7093-4298-B30D-8695D71E82FC}" srcOrd="0" destOrd="4" presId="urn:microsoft.com/office/officeart/2005/8/layout/vList4#9"/>
    <dgm:cxn modelId="{2FD7B266-27AF-4800-A9FB-9E93B20DCDF9}" type="presOf" srcId="{CA6C6C63-F70D-4465-BEBE-4E672C168216}" destId="{35983E14-7093-4298-B30D-8695D71E82FC}" srcOrd="0" destOrd="0" presId="urn:microsoft.com/office/officeart/2005/8/layout/vList4#9"/>
    <dgm:cxn modelId="{0207EE09-29AA-4C4B-9358-B83C236C22F4}" type="presOf" srcId="{60C3686A-38C9-4147-AD6F-8AB31BDE1BD1}" destId="{35983E14-7093-4298-B30D-8695D71E82FC}" srcOrd="0" destOrd="5" presId="urn:microsoft.com/office/officeart/2005/8/layout/vList4#9"/>
    <dgm:cxn modelId="{4397E79C-C129-4EA3-8579-5A1781434A0F}" srcId="{CA6C6C63-F70D-4465-BEBE-4E672C168216}" destId="{E70C601D-D310-4A0E-BDE5-DF00745DFB14}" srcOrd="2" destOrd="0" parTransId="{57BD9FFD-9D9E-4D58-8A08-F56822C89585}" sibTransId="{6F02ACA8-02DD-42D7-AE71-C18B82D904DF}"/>
    <dgm:cxn modelId="{FE9A4DAD-B9D9-4BB2-BB04-FE6EC9D2B3E3}" srcId="{CA6C6C63-F70D-4465-BEBE-4E672C168216}" destId="{6069C34C-FB15-42D6-AA1D-5579B8EECFFE}" srcOrd="3" destOrd="0" parTransId="{21D04907-B2F9-484B-960B-A5A028DD401D}" sibTransId="{CE060298-2858-4BF6-BD8A-84F91356099D}"/>
    <dgm:cxn modelId="{0AF1B2B7-C3BB-41B0-90A6-2C3E15891A4A}" type="presOf" srcId="{66D774DF-A322-41BA-A7ED-373E1462C439}" destId="{EF34F95F-9900-455C-97AA-FDAB3AE3AEBE}" srcOrd="1" destOrd="1" presId="urn:microsoft.com/office/officeart/2005/8/layout/vList4#9"/>
    <dgm:cxn modelId="{247B95A3-CFAF-46B4-AE8B-8B1C6D0A50B9}" type="presOf" srcId="{66D774DF-A322-41BA-A7ED-373E1462C439}" destId="{35983E14-7093-4298-B30D-8695D71E82FC}" srcOrd="0" destOrd="1" presId="urn:microsoft.com/office/officeart/2005/8/layout/vList4#9"/>
    <dgm:cxn modelId="{6C1D8D6F-DC90-4ED9-A7A3-B1450EF616DA}" type="presOf" srcId="{60C3686A-38C9-4147-AD6F-8AB31BDE1BD1}" destId="{EF34F95F-9900-455C-97AA-FDAB3AE3AEBE}" srcOrd="1" destOrd="5" presId="urn:microsoft.com/office/officeart/2005/8/layout/vList4#9"/>
    <dgm:cxn modelId="{E1111121-ABE7-4D8E-AC28-1C904CF3C6EE}" srcId="{CA6C6C63-F70D-4465-BEBE-4E672C168216}" destId="{6429D079-FE5E-4118-9432-937476F7A1EF}" srcOrd="1" destOrd="0" parTransId="{8A7E5953-46EB-4837-A0EB-7B9E3D7F7C2D}" sibTransId="{B7AE8E41-892A-4AB9-9351-9F061CF61548}"/>
    <dgm:cxn modelId="{0BB4A141-6FE9-436D-A61D-1F5EAA933CDA}" type="presOf" srcId="{6069C34C-FB15-42D6-AA1D-5579B8EECFFE}" destId="{EF34F95F-9900-455C-97AA-FDAB3AE3AEBE}" srcOrd="1" destOrd="4" presId="urn:microsoft.com/office/officeart/2005/8/layout/vList4#9"/>
    <dgm:cxn modelId="{290A2736-F57E-450C-8700-E0533383ED6F}" srcId="{CA6C6C63-F70D-4465-BEBE-4E672C168216}" destId="{60C3686A-38C9-4147-AD6F-8AB31BDE1BD1}" srcOrd="4"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6158FD42-C4A7-447C-B1CA-44AF9DDB3917}" type="presOf" srcId="{AEF4595A-C8FA-4C7E-A98C-563B56353276}" destId="{1CECF0B1-CF70-4767-95E8-CF1381FBE634}" srcOrd="0" destOrd="0" presId="urn:microsoft.com/office/officeart/2005/8/layout/vList4#9"/>
    <dgm:cxn modelId="{67BB332E-D679-4066-BE04-E3516C8FD6C9}" type="presOf" srcId="{E70C601D-D310-4A0E-BDE5-DF00745DFB14}" destId="{EF34F95F-9900-455C-97AA-FDAB3AE3AEBE}" srcOrd="1" destOrd="3" presId="urn:microsoft.com/office/officeart/2005/8/layout/vList4#9"/>
    <dgm:cxn modelId="{08E38A55-6BCF-4C9D-92D4-10D6317CA9D7}" type="presParOf" srcId="{1CECF0B1-CF70-4767-95E8-CF1381FBE634}" destId="{2EFE87F4-CF86-40A7-A95F-D5779B6A6492}" srcOrd="0" destOrd="0" presId="urn:microsoft.com/office/officeart/2005/8/layout/vList4#9"/>
    <dgm:cxn modelId="{C6663FD1-A2C7-448E-9DF6-380A3E0F8ED5}" type="presParOf" srcId="{2EFE87F4-CF86-40A7-A95F-D5779B6A6492}" destId="{35983E14-7093-4298-B30D-8695D71E82FC}" srcOrd="0" destOrd="0" presId="urn:microsoft.com/office/officeart/2005/8/layout/vList4#9"/>
    <dgm:cxn modelId="{8D6F6F76-7A58-4CA4-867B-0EDA65F98DCA}" type="presParOf" srcId="{2EFE87F4-CF86-40A7-A95F-D5779B6A6492}" destId="{6DB07FC2-DB01-4F82-BC07-F35E7051AECE}" srcOrd="1" destOrd="0" presId="urn:microsoft.com/office/officeart/2005/8/layout/vList4#9"/>
    <dgm:cxn modelId="{6AEE8B24-DEF9-46FF-9D41-C2A6C7C02CDD}" type="presParOf" srcId="{2EFE87F4-CF86-40A7-A95F-D5779B6A6492}" destId="{EF34F95F-9900-455C-97AA-FDAB3AE3AEBE}" srcOrd="2" destOrd="0" presId="urn:microsoft.com/office/officeart/2005/8/layout/vList4#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F4595A-C8FA-4C7E-A98C-563B56353276}" type="doc">
      <dgm:prSet loTypeId="urn:microsoft.com/office/officeart/2005/8/layout/vList4#10"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90A2736-F57E-450C-8700-E0533383ED6F}" srcId="{CA6C6C63-F70D-4465-BEBE-4E672C168216}" destId="{60C3686A-38C9-4147-AD6F-8AB31BDE1BD1}" srcOrd="3" destOrd="0" parTransId="{DDCB8B1F-094C-43F9-A014-22A555586A2D}" sibTransId="{476E433F-719B-4490-9116-8DE59697295D}"/>
    <dgm:cxn modelId="{3E791293-F3C0-49CB-9FDF-9C6204DD88A2}" srcId="{CA6C6C63-F70D-4465-BEBE-4E672C168216}" destId="{D4B85F21-B886-4596-9FBC-CDFBB3DDD0E3}" srcOrd="2" destOrd="0" parTransId="{280CDC9B-B069-435E-B4B3-75EFA4AA1F70}" sibTransId="{938398CD-3D25-432A-82CF-8582C28BF6A6}"/>
    <dgm:cxn modelId="{391AA348-7495-4148-A1CA-F4E0B8B2E1AF}" type="presOf" srcId="{60C3686A-38C9-4147-AD6F-8AB31BDE1BD1}" destId="{35983E14-7093-4298-B30D-8695D71E82FC}" srcOrd="0" destOrd="4" presId="urn:microsoft.com/office/officeart/2005/8/layout/vList4#10"/>
    <dgm:cxn modelId="{ACBCF1AD-577B-4CB5-9C20-D8738B100FF9}" type="presOf" srcId="{572BF1B3-13E4-4EA7-94E0-48485C21F6B6}" destId="{EF34F95F-9900-455C-97AA-FDAB3AE3AEBE}" srcOrd="1" destOrd="2" presId="urn:microsoft.com/office/officeart/2005/8/layout/vList4#10"/>
    <dgm:cxn modelId="{E39BC6D0-E5C8-4D95-A91A-F4D239848559}" type="presOf" srcId="{66D774DF-A322-41BA-A7ED-373E1462C439}" destId="{EF34F95F-9900-455C-97AA-FDAB3AE3AEBE}" srcOrd="1" destOrd="1" presId="urn:microsoft.com/office/officeart/2005/8/layout/vList4#10"/>
    <dgm:cxn modelId="{142AEDEA-CD13-4E64-878E-1EBB681559C4}" type="presOf" srcId="{D4B85F21-B886-4596-9FBC-CDFBB3DDD0E3}" destId="{35983E14-7093-4298-B30D-8695D71E82FC}" srcOrd="0" destOrd="3" presId="urn:microsoft.com/office/officeart/2005/8/layout/vList4#10"/>
    <dgm:cxn modelId="{DF7E2DFA-5122-47E3-9E20-F94E062BFAD4}" type="presOf" srcId="{AEF4595A-C8FA-4C7E-A98C-563B56353276}" destId="{1CECF0B1-CF70-4767-95E8-CF1381FBE634}" srcOrd="0" destOrd="0" presId="urn:microsoft.com/office/officeart/2005/8/layout/vList4#10"/>
    <dgm:cxn modelId="{5357235A-85E3-445D-9AD9-85F69468B9B3}" type="presOf" srcId="{66D774DF-A322-41BA-A7ED-373E1462C439}" destId="{35983E14-7093-4298-B30D-8695D71E82FC}" srcOrd="0" destOrd="1" presId="urn:microsoft.com/office/officeart/2005/8/layout/vList4#10"/>
    <dgm:cxn modelId="{C4B68062-EBE2-499F-8B0B-AF6BD08D3554}" type="presOf" srcId="{60C3686A-38C9-4147-AD6F-8AB31BDE1BD1}" destId="{EF34F95F-9900-455C-97AA-FDAB3AE3AEBE}" srcOrd="1" destOrd="4" presId="urn:microsoft.com/office/officeart/2005/8/layout/vList4#10"/>
    <dgm:cxn modelId="{15F79F62-6E16-4CEA-A12B-41219C0D8A39}" type="presOf" srcId="{CA6C6C63-F70D-4465-BEBE-4E672C168216}" destId="{35983E14-7093-4298-B30D-8695D71E82FC}" srcOrd="0" destOrd="0" presId="urn:microsoft.com/office/officeart/2005/8/layout/vList4#10"/>
    <dgm:cxn modelId="{AEF5BD8B-B3F1-4A02-A927-6DFF598DA716}" srcId="{CA6C6C63-F70D-4465-BEBE-4E672C168216}" destId="{572BF1B3-13E4-4EA7-94E0-48485C21F6B6}" srcOrd="1" destOrd="0" parTransId="{10AEF2AB-3E7B-4FD2-B8B6-FE1B6EF0652E}" sibTransId="{560A46BA-9679-4E1A-AD73-9E4766C1366C}"/>
    <dgm:cxn modelId="{45C3715E-B0A8-453E-97F1-74BF2EA1AAF5}" type="presOf" srcId="{CA6C6C63-F70D-4465-BEBE-4E672C168216}" destId="{EF34F95F-9900-455C-97AA-FDAB3AE3AEBE}" srcOrd="1" destOrd="0" presId="urn:microsoft.com/office/officeart/2005/8/layout/vList4#10"/>
    <dgm:cxn modelId="{984E0786-FEA8-4584-A0AE-25A34D4F00BE}" srcId="{AEF4595A-C8FA-4C7E-A98C-563B56353276}" destId="{CA6C6C63-F70D-4465-BEBE-4E672C168216}" srcOrd="0" destOrd="0" parTransId="{3306D787-9F20-4D6D-9851-20FA0AF0D530}" sibTransId="{732BFF71-4FFD-438D-BEC1-AD49BF197A37}"/>
    <dgm:cxn modelId="{78D04E72-20DB-4E45-B805-9B7EC9D5861F}" type="presOf" srcId="{572BF1B3-13E4-4EA7-94E0-48485C21F6B6}" destId="{35983E14-7093-4298-B30D-8695D71E82FC}" srcOrd="0" destOrd="2" presId="urn:microsoft.com/office/officeart/2005/8/layout/vList4#10"/>
    <dgm:cxn modelId="{0E283D01-05C5-4604-8607-FDB4E030532E}" type="presOf" srcId="{D4B85F21-B886-4596-9FBC-CDFBB3DDD0E3}" destId="{EF34F95F-9900-455C-97AA-FDAB3AE3AEBE}" srcOrd="1" destOrd="3" presId="urn:microsoft.com/office/officeart/2005/8/layout/vList4#10"/>
    <dgm:cxn modelId="{5B16E460-6E2F-44AB-A7F2-3A7B12107B0A}" srcId="{CA6C6C63-F70D-4465-BEBE-4E672C168216}" destId="{66D774DF-A322-41BA-A7ED-373E1462C439}" srcOrd="0" destOrd="0" parTransId="{7118CDC3-D838-45EB-928A-E5403CEA1F38}" sibTransId="{73A6B20E-78C5-4D31-97FC-08B2D6BC8BB1}"/>
    <dgm:cxn modelId="{3ED1F501-0076-46FD-B43E-4ECD0484020B}" type="presParOf" srcId="{1CECF0B1-CF70-4767-95E8-CF1381FBE634}" destId="{2EFE87F4-CF86-40A7-A95F-D5779B6A6492}" srcOrd="0" destOrd="0" presId="urn:microsoft.com/office/officeart/2005/8/layout/vList4#10"/>
    <dgm:cxn modelId="{8D7E757F-44A0-451D-8577-FAF0F508ED25}" type="presParOf" srcId="{2EFE87F4-CF86-40A7-A95F-D5779B6A6492}" destId="{35983E14-7093-4298-B30D-8695D71E82FC}" srcOrd="0" destOrd="0" presId="urn:microsoft.com/office/officeart/2005/8/layout/vList4#10"/>
    <dgm:cxn modelId="{260CFF0E-36CE-4C30-B6A9-69A5642019A7}" type="presParOf" srcId="{2EFE87F4-CF86-40A7-A95F-D5779B6A6492}" destId="{6DB07FC2-DB01-4F82-BC07-F35E7051AECE}" srcOrd="1" destOrd="0" presId="urn:microsoft.com/office/officeart/2005/8/layout/vList4#10"/>
    <dgm:cxn modelId="{4C801B71-5732-42C1-BFA3-90DC2C71D87A}" type="presParOf" srcId="{2EFE87F4-CF86-40A7-A95F-D5779B6A6492}" destId="{EF34F95F-9900-455C-97AA-FDAB3AE3AEBE}" srcOrd="2" destOrd="0" presId="urn:microsoft.com/office/officeart/2005/8/layout/vList4#10"/>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CC761-9441-43D7-8A85-9F9CE4D253FA}">
      <dsp:nvSpPr>
        <dsp:cNvPr id="0" name=""/>
        <dsp:cNvSpPr/>
      </dsp:nvSpPr>
      <dsp:spPr>
        <a:xfrm>
          <a:off x="0" y="79871"/>
          <a:ext cx="3635792"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59399" y="139270"/>
        <a:ext cx="3516994" cy="1098002"/>
      </dsp:txXfrm>
    </dsp:sp>
    <dsp:sp modelId="{054509CB-1364-49EF-9F58-D56FA42AD00B}">
      <dsp:nvSpPr>
        <dsp:cNvPr id="0" name=""/>
        <dsp:cNvSpPr/>
      </dsp:nvSpPr>
      <dsp:spPr>
        <a:xfrm>
          <a:off x="0" y="1477933"/>
          <a:ext cx="3635792"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ot Open Source</a:t>
          </a:r>
          <a:endParaRPr lang="en-US" sz="2000" kern="1200" dirty="0"/>
        </a:p>
      </dsp:txBody>
      <dsp:txXfrm>
        <a:off x="59399" y="1537332"/>
        <a:ext cx="3516994" cy="1098002"/>
      </dsp:txXfrm>
    </dsp:sp>
    <dsp:sp modelId="{D5A187E9-5879-4DF8-BBB3-3335B545CAF7}">
      <dsp:nvSpPr>
        <dsp:cNvPr id="0" name=""/>
        <dsp:cNvSpPr/>
      </dsp:nvSpPr>
      <dsp:spPr>
        <a:xfrm>
          <a:off x="0" y="2881933"/>
          <a:ext cx="3635792"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59399" y="2941332"/>
        <a:ext cx="3516994"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17D73-3F58-4799-BE27-0C2DE499ED0E}">
      <dsp:nvSpPr>
        <dsp:cNvPr id="0" name=""/>
        <dsp:cNvSpPr/>
      </dsp:nvSpPr>
      <dsp:spPr>
        <a:xfrm>
          <a:off x="0" y="0"/>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37467" y="37467"/>
        <a:ext cx="5444332" cy="692586"/>
      </dsp:txXfrm>
    </dsp:sp>
    <dsp:sp modelId="{3DCE55DA-4D64-4568-9CE7-5E1F52C4E623}">
      <dsp:nvSpPr>
        <dsp:cNvPr id="0" name=""/>
        <dsp:cNvSpPr/>
      </dsp:nvSpPr>
      <dsp:spPr>
        <a:xfrm>
          <a:off x="0" y="877792"/>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37467" y="915259"/>
        <a:ext cx="5444332" cy="692586"/>
      </dsp:txXfrm>
    </dsp:sp>
    <dsp:sp modelId="{641804CF-FB99-4767-9D87-C7B30A8113A6}">
      <dsp:nvSpPr>
        <dsp:cNvPr id="0" name=""/>
        <dsp:cNvSpPr/>
      </dsp:nvSpPr>
      <dsp:spPr>
        <a:xfrm>
          <a:off x="0" y="1755164"/>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37467" y="1792631"/>
        <a:ext cx="5444332" cy="692586"/>
      </dsp:txXfrm>
    </dsp:sp>
    <dsp:sp modelId="{ECDA6BE7-69E1-448A-B120-3A1C65754CF3}">
      <dsp:nvSpPr>
        <dsp:cNvPr id="0" name=""/>
        <dsp:cNvSpPr/>
      </dsp:nvSpPr>
      <dsp:spPr>
        <a:xfrm>
          <a:off x="0" y="2622769"/>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37467" y="2660236"/>
        <a:ext cx="5444332"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123541" y="336773"/>
        <a:ext cx="4590584" cy="541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65943" y="849954"/>
        <a:ext cx="4421954" cy="339393"/>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65943" y="1265929"/>
        <a:ext cx="4421954" cy="339393"/>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65943" y="1681903"/>
        <a:ext cx="4421954" cy="339393"/>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65943" y="2097878"/>
        <a:ext cx="4421954" cy="339393"/>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65943" y="2513852"/>
        <a:ext cx="4421954" cy="339393"/>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65943" y="2929827"/>
        <a:ext cx="4421954" cy="339393"/>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65943" y="3345802"/>
        <a:ext cx="4421954" cy="33939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CCA4C-59AB-4BC6-9199-F32F598F5529}">
      <dsp:nvSpPr>
        <dsp:cNvPr id="0" name=""/>
        <dsp:cNvSpPr/>
      </dsp:nvSpPr>
      <dsp:spPr>
        <a:xfrm>
          <a:off x="0" y="223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29243" y="51590"/>
        <a:ext cx="7450279" cy="540554"/>
      </dsp:txXfrm>
    </dsp:sp>
    <dsp:sp modelId="{9E9B2919-B761-4A74-8E54-8AEC3DF85B76}">
      <dsp:nvSpPr>
        <dsp:cNvPr id="0" name=""/>
        <dsp:cNvSpPr/>
      </dsp:nvSpPr>
      <dsp:spPr>
        <a:xfrm>
          <a:off x="0" y="7135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29243" y="742790"/>
        <a:ext cx="7450279" cy="540554"/>
      </dsp:txXfrm>
    </dsp:sp>
    <dsp:sp modelId="{5B496C04-7A0C-4D8B-8244-8575B4F9D288}">
      <dsp:nvSpPr>
        <dsp:cNvPr id="0" name=""/>
        <dsp:cNvSpPr/>
      </dsp:nvSpPr>
      <dsp:spPr>
        <a:xfrm>
          <a:off x="0" y="14047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29243" y="1433990"/>
        <a:ext cx="7450279" cy="540554"/>
      </dsp:txXfrm>
    </dsp:sp>
    <dsp:sp modelId="{201EAAEF-B0B8-4851-9D09-70689594ED0F}">
      <dsp:nvSpPr>
        <dsp:cNvPr id="0" name=""/>
        <dsp:cNvSpPr/>
      </dsp:nvSpPr>
      <dsp:spPr>
        <a:xfrm>
          <a:off x="0" y="2026135"/>
          <a:ext cx="7508765"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5" cy="5299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51736" y="53939"/>
        <a:ext cx="2273968" cy="956349"/>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smtClean="0"/>
            <a:t>FindBugs </a:t>
          </a:r>
          <a:endParaRPr lang="en-US" sz="2000" kern="1200" dirty="0"/>
        </a:p>
      </dsp:txBody>
      <dsp:txXfrm rot="-5400000">
        <a:off x="2377440" y="1262388"/>
        <a:ext cx="4185171" cy="765079"/>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51736" y="1166752"/>
        <a:ext cx="2273968" cy="956349"/>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FxCop </a:t>
          </a:r>
          <a:endParaRPr lang="en-US" sz="2000" kern="1200" dirty="0"/>
        </a:p>
        <a:p>
          <a:pPr marL="228600" lvl="1" indent="-228600" algn="l" defTabSz="889000">
            <a:lnSpc>
              <a:spcPct val="90000"/>
            </a:lnSpc>
            <a:spcBef>
              <a:spcPct val="0"/>
            </a:spcBef>
            <a:spcAft>
              <a:spcPct val="15000"/>
            </a:spcAft>
            <a:buChar char="••"/>
          </a:pPr>
          <a:r>
            <a:rPr lang="en-US" sz="2000" kern="1200" dirty="0" smtClean="0"/>
            <a:t>StyleCop</a:t>
          </a:r>
          <a:endParaRPr lang="en-US" sz="2000" kern="1200" dirty="0"/>
        </a:p>
      </dsp:txBody>
      <dsp:txXfrm rot="-5400000">
        <a:off x="2377440" y="2375200"/>
        <a:ext cx="4185171" cy="765079"/>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51736" y="2279565"/>
        <a:ext cx="2273968" cy="956349"/>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2377440" y="3488013"/>
        <a:ext cx="4185171" cy="765079"/>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51736" y="3392377"/>
        <a:ext cx="2273968" cy="95634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4#7">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8">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9">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4#10">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7</a:t>
            </a:fld>
            <a:endParaRPr lang="en-US"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dirty="0" smtClean="0"/>
              <a:t>Prices as of March 2012</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1</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5</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6</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02.xml"/><Relationship Id="rId7" Type="http://schemas.openxmlformats.org/officeDocument/2006/relationships/image" Target="../media/image1.emf"/><Relationship Id="rId2" Type="http://schemas.openxmlformats.org/officeDocument/2006/relationships/tags" Target="../tags/tag501.xml"/><Relationship Id="rId1" Type="http://schemas.openxmlformats.org/officeDocument/2006/relationships/vmlDrawing" Target="../drawings/vmlDrawing98.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503.xml"/><Relationship Id="rId9" Type="http://schemas.openxmlformats.org/officeDocument/2006/relationships/oleObject" Target="../embeddings/oleObject108.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2.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8.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3"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4"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5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0"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5"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9774190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3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39"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0"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2"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3"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67"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1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8"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5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6.xml"/><Relationship Id="rId16" Type="http://schemas.openxmlformats.org/officeDocument/2006/relationships/tags" Target="../tags/tag44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40.xml"/><Relationship Id="rId5" Type="http://schemas.openxmlformats.org/officeDocument/2006/relationships/slideLayout" Target="../slideLayouts/slideLayout119.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8.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vmlDrawing" Target="../drawings/vmlDrawing89.vml"/><Relationship Id="rId18" Type="http://schemas.openxmlformats.org/officeDocument/2006/relationships/tags" Target="../tags/tag461.xml"/><Relationship Id="rId3" Type="http://schemas.openxmlformats.org/officeDocument/2006/relationships/slideLayout" Target="../slideLayouts/slideLayout123.xml"/><Relationship Id="rId21" Type="http://schemas.openxmlformats.org/officeDocument/2006/relationships/tags" Target="../tags/tag464.xml"/><Relationship Id="rId7" Type="http://schemas.openxmlformats.org/officeDocument/2006/relationships/slideLayout" Target="../slideLayouts/slideLayout127.xml"/><Relationship Id="rId12" Type="http://schemas.openxmlformats.org/officeDocument/2006/relationships/theme" Target="../theme/theme16.xml"/><Relationship Id="rId17" Type="http://schemas.openxmlformats.org/officeDocument/2006/relationships/tags" Target="../tags/tag460.xml"/><Relationship Id="rId25"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tags" Target="../tags/tag459.xml"/><Relationship Id="rId20" Type="http://schemas.openxmlformats.org/officeDocument/2006/relationships/tags" Target="../tags/tag46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image" Target="../media/image1.emf"/><Relationship Id="rId5" Type="http://schemas.openxmlformats.org/officeDocument/2006/relationships/slideLayout" Target="../slideLayouts/slideLayout125.xml"/><Relationship Id="rId15" Type="http://schemas.openxmlformats.org/officeDocument/2006/relationships/tags" Target="../tags/tag458.xml"/><Relationship Id="rId23" Type="http://schemas.openxmlformats.org/officeDocument/2006/relationships/oleObject" Target="../embeddings/oleObject98.bin"/><Relationship Id="rId10" Type="http://schemas.openxmlformats.org/officeDocument/2006/relationships/slideLayout" Target="../slideLayouts/slideLayout130.xml"/><Relationship Id="rId19" Type="http://schemas.openxmlformats.org/officeDocument/2006/relationships/tags" Target="../tags/tag462.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57.xml"/><Relationship Id="rId22" Type="http://schemas.openxmlformats.org/officeDocument/2006/relationships/tags" Target="../tags/tag4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0.xml"/><Relationship Id="rId21" Type="http://schemas.openxmlformats.org/officeDocument/2006/relationships/tags" Target="../tags/tag707.xml"/><Relationship Id="rId7" Type="http://schemas.openxmlformats.org/officeDocument/2006/relationships/slideLayout" Target="../slideLayouts/slideLayout184.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79.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2.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7.xml"/><Relationship Id="rId19" Type="http://schemas.openxmlformats.org/officeDocument/2006/relationships/tags" Target="../tags/tag705.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0.xml"/><Relationship Id="rId21" Type="http://schemas.openxmlformats.org/officeDocument/2006/relationships/tags" Target="../tags/tag751.xml"/><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89.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tags" Target="../tags/tag74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0.xml"/><Relationship Id="rId21" Type="http://schemas.openxmlformats.org/officeDocument/2006/relationships/tags" Target="../tags/tag795.xml"/><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199.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2.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tags" Target="../tags/tag793.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0.xml"/><Relationship Id="rId21" Type="http://schemas.openxmlformats.org/officeDocument/2006/relationships/tags" Target="../tags/tag839.xml"/><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09.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2.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7.xml"/><Relationship Id="rId19" Type="http://schemas.openxmlformats.org/officeDocument/2006/relationships/tags" Target="../tags/tag83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0.xml"/><Relationship Id="rId21" Type="http://schemas.openxmlformats.org/officeDocument/2006/relationships/tags" Target="../tags/tag883.xml"/><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19.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2.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7.xml"/><Relationship Id="rId19" Type="http://schemas.openxmlformats.org/officeDocument/2006/relationships/tags" Target="../tags/tag881.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0.xml"/><Relationship Id="rId21" Type="http://schemas.openxmlformats.org/officeDocument/2006/relationships/tags" Target="../tags/tag927.xml"/><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29.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7.xml"/><Relationship Id="rId19" Type="http://schemas.openxmlformats.org/officeDocument/2006/relationships/tags" Target="../tags/tag925.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39.xml"/><Relationship Id="rId16" Type="http://schemas.openxmlformats.org/officeDocument/2006/relationships/tags" Target="../tags/tag97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965.xml"/><Relationship Id="rId5" Type="http://schemas.openxmlformats.org/officeDocument/2006/relationships/slideLayout" Target="../slideLayouts/slideLayout242.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1.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6.xml"/><Relationship Id="rId21" Type="http://schemas.openxmlformats.org/officeDocument/2006/relationships/tags" Target="../tags/tag990.xml"/><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5.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8.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tags" Target="../tags/tag988.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6.xml"/><Relationship Id="rId21" Type="http://schemas.openxmlformats.org/officeDocument/2006/relationships/tags" Target="../tags/tag1034.xml"/><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5.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ags" Target="../tags/tag103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6.xml"/><Relationship Id="rId21" Type="http://schemas.openxmlformats.org/officeDocument/2006/relationships/tags" Target="../tags/tag1078.xml"/><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5.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8.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tags" Target="../tags/tag107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6.xml"/><Relationship Id="rId21" Type="http://schemas.openxmlformats.org/officeDocument/2006/relationships/tags" Target="../tags/tag1122.xml"/><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5.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8.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3.xml"/><Relationship Id="rId19" Type="http://schemas.openxmlformats.org/officeDocument/2006/relationships/tags" Target="../tags/tag112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6.xml"/><Relationship Id="rId21" Type="http://schemas.openxmlformats.org/officeDocument/2006/relationships/tags" Target="../tags/tag1166.xml"/><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5.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8.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3.xml"/><Relationship Id="rId19" Type="http://schemas.openxmlformats.org/officeDocument/2006/relationships/tags" Target="../tags/tag116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6.xml"/><Relationship Id="rId21" Type="http://schemas.openxmlformats.org/officeDocument/2006/relationships/tags" Target="../tags/tag1210.xml"/><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5.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8.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3.xml"/><Relationship Id="rId19" Type="http://schemas.openxmlformats.org/officeDocument/2006/relationships/tags" Target="../tags/tag120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6.xml"/><Relationship Id="rId21" Type="http://schemas.openxmlformats.org/officeDocument/2006/relationships/tags" Target="../tags/tag1254.xml"/><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5.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8.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3.xml"/><Relationship Id="rId19" Type="http://schemas.openxmlformats.org/officeDocument/2006/relationships/tags" Target="../tags/tag125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5.xml"/><Relationship Id="rId16" Type="http://schemas.openxmlformats.org/officeDocument/2006/relationships/tags" Target="../tags/tag129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292.xml"/><Relationship Id="rId5" Type="http://schemas.openxmlformats.org/officeDocument/2006/relationships/slideLayout" Target="../slideLayouts/slideLayout318.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7.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2.xml"/><Relationship Id="rId21" Type="http://schemas.openxmlformats.org/officeDocument/2006/relationships/tags" Target="../tags/tag1317.xml"/><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1.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4.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tags" Target="../tags/tag1315.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2.xml"/><Relationship Id="rId21" Type="http://schemas.openxmlformats.org/officeDocument/2006/relationships/tags" Target="../tags/tag1361.xml"/><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1.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4.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tags" Target="../tags/tag135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2.xml"/><Relationship Id="rId21" Type="http://schemas.openxmlformats.org/officeDocument/2006/relationships/tags" Target="../tags/tag1405.xml"/><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1.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4.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49.xml"/><Relationship Id="rId19" Type="http://schemas.openxmlformats.org/officeDocument/2006/relationships/tags" Target="../tags/tag14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2.xml"/><Relationship Id="rId21" Type="http://schemas.openxmlformats.org/officeDocument/2006/relationships/tags" Target="../tags/tag1449.xml"/><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1.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4.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59.xml"/><Relationship Id="rId19" Type="http://schemas.openxmlformats.org/officeDocument/2006/relationships/tags" Target="../tags/tag1447.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2.xml"/><Relationship Id="rId21" Type="http://schemas.openxmlformats.org/officeDocument/2006/relationships/tags" Target="../tags/tag1493.xml"/><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1.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4.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69.xml"/><Relationship Id="rId19" Type="http://schemas.openxmlformats.org/officeDocument/2006/relationships/tags" Target="../tags/tag1491.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2.xml"/><Relationship Id="rId21" Type="http://schemas.openxmlformats.org/officeDocument/2006/relationships/tags" Target="../tags/tag1537.xml"/><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1.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4.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79.xml"/><Relationship Id="rId19" Type="http://schemas.openxmlformats.org/officeDocument/2006/relationships/tags" Target="../tags/tag1535.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2.xml"/><Relationship Id="rId21" Type="http://schemas.openxmlformats.org/officeDocument/2006/relationships/tags" Target="../tags/tag1581.xml"/><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1.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4.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89.xml"/><Relationship Id="rId19" Type="http://schemas.openxmlformats.org/officeDocument/2006/relationships/tags" Target="../tags/tag157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2.xml"/><Relationship Id="rId21" Type="http://schemas.openxmlformats.org/officeDocument/2006/relationships/tags" Target="../tags/tag1625.xml"/><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1.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4.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399.xml"/><Relationship Id="rId19" Type="http://schemas.openxmlformats.org/officeDocument/2006/relationships/tags" Target="../tags/tag1623.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2.xml"/><Relationship Id="rId21" Type="http://schemas.openxmlformats.org/officeDocument/2006/relationships/tags" Target="../tags/tag1669.xml"/><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1.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4.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09.xml"/><Relationship Id="rId19" Type="http://schemas.openxmlformats.org/officeDocument/2006/relationships/tags" Target="../tags/tag1667.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2.xml"/><Relationship Id="rId21" Type="http://schemas.openxmlformats.org/officeDocument/2006/relationships/tags" Target="../tags/tag1713.xml"/><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1.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4.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19.xml"/><Relationship Id="rId19" Type="http://schemas.openxmlformats.org/officeDocument/2006/relationships/tags" Target="../tags/tag1711.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2.xml"/><Relationship Id="rId21" Type="http://schemas.openxmlformats.org/officeDocument/2006/relationships/tags" Target="../tags/tag1757.xml"/><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1.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4.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29.xml"/><Relationship Id="rId19" Type="http://schemas.openxmlformats.org/officeDocument/2006/relationships/tags" Target="../tags/tag1755.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2.xml"/><Relationship Id="rId21" Type="http://schemas.openxmlformats.org/officeDocument/2006/relationships/tags" Target="../tags/tag1801.xml"/><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1.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4.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39.xml"/><Relationship Id="rId19" Type="http://schemas.openxmlformats.org/officeDocument/2006/relationships/tags" Target="../tags/tag179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2.xml"/><Relationship Id="rId21" Type="http://schemas.openxmlformats.org/officeDocument/2006/relationships/tags" Target="../tags/tag1845.xml"/><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1.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4.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49.xml"/><Relationship Id="rId19" Type="http://schemas.openxmlformats.org/officeDocument/2006/relationships/tags" Target="../tags/tag184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2.xml"/><Relationship Id="rId21" Type="http://schemas.openxmlformats.org/officeDocument/2006/relationships/tags" Target="../tags/tag1889.xml"/><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1.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4.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59.xml"/><Relationship Id="rId19" Type="http://schemas.openxmlformats.org/officeDocument/2006/relationships/tags" Target="../tags/tag1887.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2.xml"/><Relationship Id="rId21" Type="http://schemas.openxmlformats.org/officeDocument/2006/relationships/tags" Target="../tags/tag1933.xml"/><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4.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69.xml"/><Relationship Id="rId19" Type="http://schemas.openxmlformats.org/officeDocument/2006/relationships/tags" Target="../tags/tag193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1.xml"/><Relationship Id="rId16" Type="http://schemas.openxmlformats.org/officeDocument/2006/relationships/tags" Target="../tags/tag1976.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971.xml"/><Relationship Id="rId5" Type="http://schemas.openxmlformats.org/officeDocument/2006/relationships/slideLayout" Target="../slideLayouts/slideLayout474.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3.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8.xml"/><Relationship Id="rId21" Type="http://schemas.openxmlformats.org/officeDocument/2006/relationships/tags" Target="../tags/tag1996.xml"/><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7.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0.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5.xml"/><Relationship Id="rId19" Type="http://schemas.openxmlformats.org/officeDocument/2006/relationships/tags" Target="../tags/tag19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8.xml"/><Relationship Id="rId21" Type="http://schemas.openxmlformats.org/officeDocument/2006/relationships/tags" Target="../tags/tag2040.xml"/><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7.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0.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5.xml"/><Relationship Id="rId19" Type="http://schemas.openxmlformats.org/officeDocument/2006/relationships/tags" Target="../tags/tag2038.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8.xml"/><Relationship Id="rId21" Type="http://schemas.openxmlformats.org/officeDocument/2006/relationships/tags" Target="../tags/tag2084.xml"/><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7.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0.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5.xml"/><Relationship Id="rId19" Type="http://schemas.openxmlformats.org/officeDocument/2006/relationships/tags" Target="../tags/tag2082.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8.xml"/><Relationship Id="rId21" Type="http://schemas.openxmlformats.org/officeDocument/2006/relationships/tags" Target="../tags/tag2128.xml"/><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7.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0.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5.xml"/><Relationship Id="rId19" Type="http://schemas.openxmlformats.org/officeDocument/2006/relationships/tags" Target="../tags/tag212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8.xml"/><Relationship Id="rId21" Type="http://schemas.openxmlformats.org/officeDocument/2006/relationships/tags" Target="../tags/tag2172.xml"/><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7.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0.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5.xml"/><Relationship Id="rId19" Type="http://schemas.openxmlformats.org/officeDocument/2006/relationships/tags" Target="../tags/tag217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8.xml"/><Relationship Id="rId21" Type="http://schemas.openxmlformats.org/officeDocument/2006/relationships/tags" Target="../tags/tag2216.xml"/><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7.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0.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5.xml"/><Relationship Id="rId19" Type="http://schemas.openxmlformats.org/officeDocument/2006/relationships/tags" Target="../tags/tag221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8.xml"/><Relationship Id="rId21" Type="http://schemas.openxmlformats.org/officeDocument/2006/relationships/tags" Target="../tags/tag2260.xml"/><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7.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0.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5.xml"/><Relationship Id="rId19" Type="http://schemas.openxmlformats.org/officeDocument/2006/relationships/tags" Target="../tags/tag2258.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8.xml"/><Relationship Id="rId21" Type="http://schemas.openxmlformats.org/officeDocument/2006/relationships/tags" Target="../tags/tag2304.xml"/><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7.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0.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5.xml"/><Relationship Id="rId19" Type="http://schemas.openxmlformats.org/officeDocument/2006/relationships/tags" Target="../tags/tag2302.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8.xml"/><Relationship Id="rId21" Type="http://schemas.openxmlformats.org/officeDocument/2006/relationships/tags" Target="../tags/tag2348.xml"/><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7.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0.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5.xml"/><Relationship Id="rId19" Type="http://schemas.openxmlformats.org/officeDocument/2006/relationships/tags" Target="../tags/tag2346.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8.xml"/><Relationship Id="rId21" Type="http://schemas.openxmlformats.org/officeDocument/2006/relationships/tags" Target="../tags/tag2392.xml"/><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7.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0.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5.xml"/><Relationship Id="rId19" Type="http://schemas.openxmlformats.org/officeDocument/2006/relationships/tags" Target="../tags/tag2390.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8.xml"/><Relationship Id="rId21" Type="http://schemas.openxmlformats.org/officeDocument/2006/relationships/tags" Target="../tags/tag2436.xml"/><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7.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0.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5.xml"/><Relationship Id="rId19" Type="http://schemas.openxmlformats.org/officeDocument/2006/relationships/tags" Target="../tags/tag243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8.xml"/><Relationship Id="rId21" Type="http://schemas.openxmlformats.org/officeDocument/2006/relationships/tags" Target="../tags/tag2480.xml"/><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7.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0.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5.xml"/><Relationship Id="rId19" Type="http://schemas.openxmlformats.org/officeDocument/2006/relationships/tags" Target="../tags/tag2478.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8.xml"/><Relationship Id="rId21" Type="http://schemas.openxmlformats.org/officeDocument/2006/relationships/tags" Target="../tags/tag2524.xml"/><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7.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0.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5.xml"/><Relationship Id="rId19" Type="http://schemas.openxmlformats.org/officeDocument/2006/relationships/tags" Target="../tags/tag2522.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8.xml"/><Relationship Id="rId21" Type="http://schemas.openxmlformats.org/officeDocument/2006/relationships/tags" Target="../tags/tag2568.xml"/><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7.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0.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tags" Target="../tags/tag256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8.xml"/><Relationship Id="rId21" Type="http://schemas.openxmlformats.org/officeDocument/2006/relationships/tags" Target="../tags/tag2612.xml"/><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7.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0.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5.xml"/><Relationship Id="rId19" Type="http://schemas.openxmlformats.org/officeDocument/2006/relationships/tags" Target="../tags/tag261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8.xml"/><Relationship Id="rId21" Type="http://schemas.openxmlformats.org/officeDocument/2006/relationships/tags" Target="../tags/tag2656.xml"/><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7.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0.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5.xml"/><Relationship Id="rId19" Type="http://schemas.openxmlformats.org/officeDocument/2006/relationships/tags" Target="../tags/tag2654.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8.xml"/><Relationship Id="rId21" Type="http://schemas.openxmlformats.org/officeDocument/2006/relationships/tags" Target="../tags/tag2700.xml"/><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7.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0.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5.xml"/><Relationship Id="rId19" Type="http://schemas.openxmlformats.org/officeDocument/2006/relationships/tags" Target="../tags/tag2698.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8.xml"/><Relationship Id="rId21" Type="http://schemas.openxmlformats.org/officeDocument/2006/relationships/tags" Target="../tags/tag2744.xml"/><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7.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0.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tags" Target="../tags/tag2742.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6"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1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9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2"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691" r:id="rId10"/>
    <p:sldLayoutId id="2147484692"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8"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2"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6"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2"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1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5.png"/><Relationship Id="rId2" Type="http://schemas.openxmlformats.org/officeDocument/2006/relationships/tags" Target="../tags/tag2785.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6.png"/><Relationship Id="rId2" Type="http://schemas.openxmlformats.org/officeDocument/2006/relationships/tags" Target="../tags/tag2786.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7.png"/><Relationship Id="rId2" Type="http://schemas.openxmlformats.org/officeDocument/2006/relationships/tags" Target="../tags/tag2787.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0.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24.xml"/><Relationship Id="rId7" Type="http://schemas.openxmlformats.org/officeDocument/2006/relationships/diagramData" Target="../diagrams/data2.xml"/><Relationship Id="rId2" Type="http://schemas.openxmlformats.org/officeDocument/2006/relationships/tags" Target="../tags/tag2788.xml"/><Relationship Id="rId1" Type="http://schemas.openxmlformats.org/officeDocument/2006/relationships/vmlDrawing" Target="../drawings/vmlDrawing572.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594.bin"/><Relationship Id="rId10" Type="http://schemas.openxmlformats.org/officeDocument/2006/relationships/diagramColors" Target="../diagrams/colors2.xml"/><Relationship Id="rId4" Type="http://schemas.openxmlformats.org/officeDocument/2006/relationships/notesSlide" Target="../notesSlides/notesSlide13.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9.png"/><Relationship Id="rId2" Type="http://schemas.openxmlformats.org/officeDocument/2006/relationships/tags" Target="../tags/tag2789.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0.png"/><Relationship Id="rId2" Type="http://schemas.openxmlformats.org/officeDocument/2006/relationships/tags" Target="../tags/tag2790.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1.png"/><Relationship Id="rId2" Type="http://schemas.openxmlformats.org/officeDocument/2006/relationships/tags" Target="../tags/tag2791.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92.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2.png"/><Relationship Id="rId2" Type="http://schemas.openxmlformats.org/officeDocument/2006/relationships/tags" Target="../tags/tag2793.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3.png"/><Relationship Id="rId2" Type="http://schemas.openxmlformats.org/officeDocument/2006/relationships/tags" Target="../tags/tag2794.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4.png"/><Relationship Id="rId2" Type="http://schemas.openxmlformats.org/officeDocument/2006/relationships/tags" Target="../tags/tag2795.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2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5.png"/><Relationship Id="rId2" Type="http://schemas.openxmlformats.org/officeDocument/2006/relationships/tags" Target="../tags/tag2796.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2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6.png"/><Relationship Id="rId2" Type="http://schemas.openxmlformats.org/officeDocument/2006/relationships/tags" Target="../tags/tag2797.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98.xml"/><Relationship Id="rId1" Type="http://schemas.openxmlformats.org/officeDocument/2006/relationships/vmlDrawing" Target="../drawings/vmlDrawing582.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24.xml"/></Relationships>
</file>

<file path=ppt/slides/_rels/slide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9.png"/><Relationship Id="rId2" Type="http://schemas.openxmlformats.org/officeDocument/2006/relationships/tags" Target="../tags/tag2799.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5.bin"/><Relationship Id="rId4" Type="http://schemas.openxmlformats.org/officeDocument/2006/relationships/notesSlide" Target="../notesSlides/notesSlide2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0.png"/><Relationship Id="rId2" Type="http://schemas.openxmlformats.org/officeDocument/2006/relationships/tags" Target="../tags/tag2800.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801.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7.bin"/><Relationship Id="rId4"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1.png"/><Relationship Id="rId2" Type="http://schemas.openxmlformats.org/officeDocument/2006/relationships/tags" Target="../tags/tag2802.xml"/><Relationship Id="rId1" Type="http://schemas.openxmlformats.org/officeDocument/2006/relationships/vmlDrawing" Target="../drawings/vmlDrawing586.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9.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24.xml"/><Relationship Id="rId7" Type="http://schemas.openxmlformats.org/officeDocument/2006/relationships/diagramData" Target="../diagrams/data3.xml"/><Relationship Id="rId2" Type="http://schemas.openxmlformats.org/officeDocument/2006/relationships/tags" Target="../tags/tag2803.xml"/><Relationship Id="rId1" Type="http://schemas.openxmlformats.org/officeDocument/2006/relationships/vmlDrawing" Target="../drawings/vmlDrawing587.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609.bin"/><Relationship Id="rId10" Type="http://schemas.openxmlformats.org/officeDocument/2006/relationships/diagramColors" Target="../diagrams/colors3.xml"/><Relationship Id="rId4" Type="http://schemas.openxmlformats.org/officeDocument/2006/relationships/notesSlide" Target="../notesSlides/notesSlide30.xml"/><Relationship Id="rId9" Type="http://schemas.openxmlformats.org/officeDocument/2006/relationships/diagramQuickStyle" Target="../diagrams/quickStyle3.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24.xml"/><Relationship Id="rId7" Type="http://schemas.openxmlformats.org/officeDocument/2006/relationships/diagramData" Target="../diagrams/data4.xml"/><Relationship Id="rId2" Type="http://schemas.openxmlformats.org/officeDocument/2006/relationships/tags" Target="../tags/tag2804.xml"/><Relationship Id="rId1" Type="http://schemas.openxmlformats.org/officeDocument/2006/relationships/vmlDrawing" Target="../drawings/vmlDrawing588.vml"/><Relationship Id="rId6" Type="http://schemas.openxmlformats.org/officeDocument/2006/relationships/image" Target="../media/image1.emf"/><Relationship Id="rId11" Type="http://schemas.microsoft.com/office/2007/relationships/diagramDrawing" Target="../diagrams/drawing4.xml"/><Relationship Id="rId5" Type="http://schemas.openxmlformats.org/officeDocument/2006/relationships/oleObject" Target="../embeddings/oleObject610.bin"/><Relationship Id="rId10" Type="http://schemas.openxmlformats.org/officeDocument/2006/relationships/diagramColors" Target="../diagrams/colors4.xml"/><Relationship Id="rId4" Type="http://schemas.openxmlformats.org/officeDocument/2006/relationships/notesSlide" Target="../notesSlides/notesSlide31.xml"/><Relationship Id="rId9" Type="http://schemas.openxmlformats.org/officeDocument/2006/relationships/diagramQuickStyle" Target="../diagrams/quickStyle4.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24.xml"/><Relationship Id="rId7" Type="http://schemas.openxmlformats.org/officeDocument/2006/relationships/diagramData" Target="../diagrams/data5.xml"/><Relationship Id="rId2" Type="http://schemas.openxmlformats.org/officeDocument/2006/relationships/tags" Target="../tags/tag2805.xml"/><Relationship Id="rId1" Type="http://schemas.openxmlformats.org/officeDocument/2006/relationships/vmlDrawing" Target="../drawings/vmlDrawing589.vml"/><Relationship Id="rId6" Type="http://schemas.openxmlformats.org/officeDocument/2006/relationships/image" Target="../media/image1.emf"/><Relationship Id="rId11" Type="http://schemas.microsoft.com/office/2007/relationships/diagramDrawing" Target="../diagrams/drawing5.xml"/><Relationship Id="rId5" Type="http://schemas.openxmlformats.org/officeDocument/2006/relationships/oleObject" Target="../embeddings/oleObject611.bin"/><Relationship Id="rId10" Type="http://schemas.openxmlformats.org/officeDocument/2006/relationships/diagramColors" Target="../diagrams/colors5.xml"/><Relationship Id="rId4" Type="http://schemas.openxmlformats.org/officeDocument/2006/relationships/notesSlide" Target="../notesSlides/notesSlide32.xml"/><Relationship Id="rId9" Type="http://schemas.openxmlformats.org/officeDocument/2006/relationships/diagramQuickStyle" Target="../diagrams/quickStyle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4.png"/><Relationship Id="rId2" Type="http://schemas.openxmlformats.org/officeDocument/2006/relationships/tags" Target="../tags/tag2806.xml"/><Relationship Id="rId1" Type="http://schemas.openxmlformats.org/officeDocument/2006/relationships/vmlDrawing" Target="../drawings/vmlDrawing590.vml"/><Relationship Id="rId6" Type="http://schemas.openxmlformats.org/officeDocument/2006/relationships/image" Target="../media/image1.emf"/><Relationship Id="rId5" Type="http://schemas.openxmlformats.org/officeDocument/2006/relationships/oleObject" Target="../embeddings/oleObject612.bin"/><Relationship Id="rId4"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0.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24.xml"/><Relationship Id="rId7" Type="http://schemas.openxmlformats.org/officeDocument/2006/relationships/diagramData" Target="../diagrams/data6.xml"/><Relationship Id="rId2" Type="http://schemas.openxmlformats.org/officeDocument/2006/relationships/tags" Target="../tags/tag2807.xml"/><Relationship Id="rId1" Type="http://schemas.openxmlformats.org/officeDocument/2006/relationships/vmlDrawing" Target="../drawings/vmlDrawing591.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613.bin"/><Relationship Id="rId10" Type="http://schemas.openxmlformats.org/officeDocument/2006/relationships/diagramColors" Target="../diagrams/colors6.xml"/><Relationship Id="rId4" Type="http://schemas.openxmlformats.org/officeDocument/2006/relationships/notesSlide" Target="../notesSlides/notesSlide34.xml"/><Relationship Id="rId9" Type="http://schemas.openxmlformats.org/officeDocument/2006/relationships/diagramQuickStyle" Target="../diagrams/quickStyle6.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24.xml"/><Relationship Id="rId7" Type="http://schemas.openxmlformats.org/officeDocument/2006/relationships/diagramData" Target="../diagrams/data7.xml"/><Relationship Id="rId2" Type="http://schemas.openxmlformats.org/officeDocument/2006/relationships/tags" Target="../tags/tag2808.xml"/><Relationship Id="rId1" Type="http://schemas.openxmlformats.org/officeDocument/2006/relationships/vmlDrawing" Target="../drawings/vmlDrawing592.v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614.bin"/><Relationship Id="rId10" Type="http://schemas.openxmlformats.org/officeDocument/2006/relationships/diagramColors" Target="../diagrams/colors7.xml"/><Relationship Id="rId4" Type="http://schemas.openxmlformats.org/officeDocument/2006/relationships/notesSlide" Target="../notesSlides/notesSlide35.xml"/><Relationship Id="rId9" Type="http://schemas.openxmlformats.org/officeDocument/2006/relationships/diagramQuickStyle" Target="../diagrams/quickStyle7.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124.xml"/><Relationship Id="rId7" Type="http://schemas.openxmlformats.org/officeDocument/2006/relationships/diagramData" Target="../diagrams/data8.xml"/><Relationship Id="rId2" Type="http://schemas.openxmlformats.org/officeDocument/2006/relationships/tags" Target="../tags/tag2809.xml"/><Relationship Id="rId1" Type="http://schemas.openxmlformats.org/officeDocument/2006/relationships/vmlDrawing" Target="../drawings/vmlDrawing593.vml"/><Relationship Id="rId6" Type="http://schemas.openxmlformats.org/officeDocument/2006/relationships/image" Target="../media/image1.emf"/><Relationship Id="rId11" Type="http://schemas.microsoft.com/office/2007/relationships/diagramDrawing" Target="../diagrams/drawing8.xml"/><Relationship Id="rId5" Type="http://schemas.openxmlformats.org/officeDocument/2006/relationships/oleObject" Target="../embeddings/oleObject615.bin"/><Relationship Id="rId10" Type="http://schemas.openxmlformats.org/officeDocument/2006/relationships/diagramColors" Target="../diagrams/colors8.xml"/><Relationship Id="rId4" Type="http://schemas.openxmlformats.org/officeDocument/2006/relationships/notesSlide" Target="../notesSlides/notesSlide36.xml"/><Relationship Id="rId9" Type="http://schemas.openxmlformats.org/officeDocument/2006/relationships/diagramQuickStyle" Target="../diagrams/quickStyle8.xm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24.xml"/><Relationship Id="rId7" Type="http://schemas.openxmlformats.org/officeDocument/2006/relationships/diagramData" Target="../diagrams/data9.xml"/><Relationship Id="rId2" Type="http://schemas.openxmlformats.org/officeDocument/2006/relationships/tags" Target="../tags/tag2810.xml"/><Relationship Id="rId1" Type="http://schemas.openxmlformats.org/officeDocument/2006/relationships/vmlDrawing" Target="../drawings/vmlDrawing594.vml"/><Relationship Id="rId6" Type="http://schemas.openxmlformats.org/officeDocument/2006/relationships/image" Target="../media/image1.emf"/><Relationship Id="rId11" Type="http://schemas.microsoft.com/office/2007/relationships/diagramDrawing" Target="../diagrams/drawing9.xml"/><Relationship Id="rId5" Type="http://schemas.openxmlformats.org/officeDocument/2006/relationships/oleObject" Target="../embeddings/oleObject616.bin"/><Relationship Id="rId10" Type="http://schemas.openxmlformats.org/officeDocument/2006/relationships/diagramColors" Target="../diagrams/colors9.xml"/><Relationship Id="rId4" Type="http://schemas.openxmlformats.org/officeDocument/2006/relationships/notesSlide" Target="../notesSlides/notesSlide37.xml"/><Relationship Id="rId9" Type="http://schemas.openxmlformats.org/officeDocument/2006/relationships/diagramQuickStyle" Target="../diagrams/quickStyle9.xml"/></Relationships>
</file>

<file path=ppt/slides/_rels/slide54.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124.xml"/><Relationship Id="rId7" Type="http://schemas.openxmlformats.org/officeDocument/2006/relationships/diagramData" Target="../diagrams/data10.xml"/><Relationship Id="rId2" Type="http://schemas.openxmlformats.org/officeDocument/2006/relationships/tags" Target="../tags/tag2811.xml"/><Relationship Id="rId1" Type="http://schemas.openxmlformats.org/officeDocument/2006/relationships/vmlDrawing" Target="../drawings/vmlDrawing595.vml"/><Relationship Id="rId6" Type="http://schemas.openxmlformats.org/officeDocument/2006/relationships/image" Target="../media/image1.emf"/><Relationship Id="rId11" Type="http://schemas.microsoft.com/office/2007/relationships/diagramDrawing" Target="../diagrams/drawing10.xml"/><Relationship Id="rId5" Type="http://schemas.openxmlformats.org/officeDocument/2006/relationships/oleObject" Target="../embeddings/oleObject617.bin"/><Relationship Id="rId10" Type="http://schemas.openxmlformats.org/officeDocument/2006/relationships/diagramColors" Target="../diagrams/colors10.xml"/><Relationship Id="rId4" Type="http://schemas.openxmlformats.org/officeDocument/2006/relationships/notesSlide" Target="../notesSlides/notesSlide38.xml"/><Relationship Id="rId9" Type="http://schemas.openxmlformats.org/officeDocument/2006/relationships/diagramQuickStyle" Target="../diagrams/quickStyle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0.xml"/></Relationships>
</file>

<file path=ppt/slides/_rels/slide5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24.xml"/></Relationships>
</file>

<file path=ppt/slides/_rels/slide57.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12.xml"/><Relationship Id="rId1" Type="http://schemas.openxmlformats.org/officeDocument/2006/relationships/vmlDrawing" Target="../drawings/vmlDrawing596.vml"/><Relationship Id="rId6" Type="http://schemas.openxmlformats.org/officeDocument/2006/relationships/image" Target="../media/image1.emf"/><Relationship Id="rId5" Type="http://schemas.openxmlformats.org/officeDocument/2006/relationships/oleObject" Target="../embeddings/oleObject618.bin"/><Relationship Id="rId4" Type="http://schemas.openxmlformats.org/officeDocument/2006/relationships/notesSlide" Target="../notesSlides/notesSlide4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1.jpeg"/><Relationship Id="rId2" Type="http://schemas.openxmlformats.org/officeDocument/2006/relationships/tags" Target="../tags/tag2783.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4.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8"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Feature Driven Development (FDD) and Agile Modeling</a:t>
            </a:r>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eXtreme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ile Modeling and eXtreme Programming (XP)</a:t>
            </a:r>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smtClean="0"/>
              <a:t>eXtreme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Deploy</a:t>
            </a:r>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with Source Control System</a:t>
            </a:r>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entralized Version Control</a:t>
            </a: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7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a:t>
            </a: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2720391"/>
          </a:xfrm>
          <a:prstGeom prst="rect">
            <a:avLst/>
          </a:prstGeom>
        </p:spPr>
        <p:txBody>
          <a:bodyPr/>
          <a:lstStyle/>
          <a:p>
            <a:pPr>
              <a:buFont typeface="Wingdings" pitchFamily="2" charset="2"/>
              <a:buChar char="Ø"/>
            </a:pPr>
            <a:r>
              <a:rPr lang="en-US" sz="1600" dirty="0" smtClean="0">
                <a:latin typeface="Verdana" pitchFamily="34" charset="0"/>
                <a:ea typeface="Verdana" pitchFamily="34" charset="0"/>
                <a:cs typeface="Verdana" pitchFamily="34" charset="0"/>
              </a:rPr>
              <a:t>Unit Testing Overview</a:t>
            </a:r>
          </a:p>
          <a:p>
            <a:pPr>
              <a:buFont typeface="Wingdings" pitchFamily="2" charset="2"/>
              <a:buChar char="Ø"/>
            </a:pPr>
            <a:r>
              <a:rPr lang="en-US" sz="1600" dirty="0">
                <a:solidFill>
                  <a:srgbClr val="1F497D">
                    <a:lumMod val="50000"/>
                  </a:srgbClr>
                </a:solidFill>
              </a:rPr>
              <a:t>Code Refactoring</a:t>
            </a:r>
          </a:p>
          <a:p>
            <a:pPr>
              <a:buFont typeface="Wingdings" pitchFamily="2" charset="2"/>
              <a:buChar char="Ø"/>
            </a:pPr>
            <a:r>
              <a:rPr lang="en-US" sz="1600" dirty="0">
                <a:solidFill>
                  <a:srgbClr val="1F497D">
                    <a:lumMod val="50000"/>
                  </a:srgbClr>
                </a:solidFill>
              </a:rPr>
              <a:t>Life Cycle Models</a:t>
            </a:r>
          </a:p>
          <a:p>
            <a:pPr>
              <a:buFont typeface="Wingdings" pitchFamily="2" charset="2"/>
              <a:buChar char="Ø"/>
            </a:pPr>
            <a:r>
              <a:rPr lang="en-US" sz="1600" dirty="0">
                <a:solidFill>
                  <a:srgbClr val="1F497D">
                    <a:lumMod val="50000"/>
                  </a:srgbClr>
                </a:solidFill>
              </a:rPr>
              <a:t>Continuous Integration</a:t>
            </a:r>
          </a:p>
          <a:p>
            <a:pPr>
              <a:buFont typeface="Wingdings" pitchFamily="2" charset="2"/>
              <a:buChar char="Ø"/>
            </a:pPr>
            <a:r>
              <a:rPr lang="en-US" sz="1600" dirty="0">
                <a:solidFill>
                  <a:srgbClr val="1F497D">
                    <a:lumMod val="50000"/>
                  </a:srgbClr>
                </a:solidFill>
              </a:rPr>
              <a:t>Build with Source Control System</a:t>
            </a:r>
          </a:p>
          <a:p>
            <a:pPr>
              <a:buFont typeface="Wingdings" pitchFamily="2" charset="2"/>
              <a:buChar char="Ø"/>
            </a:pPr>
            <a:r>
              <a:rPr lang="en-US" sz="1600" dirty="0" smtClean="0">
                <a:solidFill>
                  <a:srgbClr val="1F497D">
                    <a:lumMod val="50000"/>
                  </a:srgbClr>
                </a:solidFill>
              </a:rPr>
              <a:t>Jenkins</a:t>
            </a:r>
          </a:p>
          <a:p>
            <a:pPr>
              <a:buFont typeface="Wingdings" pitchFamily="2" charset="2"/>
              <a:buChar char="Ø"/>
            </a:pPr>
            <a:r>
              <a:rPr lang="en-US" sz="1600" dirty="0">
                <a:solidFill>
                  <a:srgbClr val="1F497D">
                    <a:lumMod val="50000"/>
                  </a:srgbClr>
                </a:solidFill>
              </a:rPr>
              <a:t>Sonar </a:t>
            </a:r>
            <a:r>
              <a:rPr lang="en-US" sz="1600" dirty="0" smtClean="0">
                <a:solidFill>
                  <a:srgbClr val="1F497D">
                    <a:lumMod val="50000"/>
                  </a:srgbClr>
                </a:solidFill>
              </a:rPr>
              <a:t>Qube</a:t>
            </a:r>
            <a:endParaRPr lang="en-US" sz="1600" dirty="0">
              <a:solidFill>
                <a:srgbClr val="1F497D">
                  <a:lumMod val="50000"/>
                </a:srgbClr>
              </a:solidFill>
            </a:endParaRPr>
          </a:p>
        </p:txBody>
      </p:sp>
    </p:spTree>
    <p:extLst>
      <p:ext uri="{BB962C8B-B14F-4D97-AF65-F5344CB8AC3E}">
        <p14:creationId xmlns:p14="http://schemas.microsoft.com/office/powerpoint/2010/main" val="383488268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 (contd.)</a:t>
            </a: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Bamboo</a:t>
            </a:r>
            <a:endParaRPr lang="en-US" dirty="0"/>
          </a:p>
        </p:txBody>
      </p:sp>
    </p:spTree>
    <p:extLst>
      <p:ext uri="{BB962C8B-B14F-4D97-AF65-F5344CB8AC3E}">
        <p14:creationId xmlns:p14="http://schemas.microsoft.com/office/powerpoint/2010/main" val="31979600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Bamboo</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a:solidFill>
                <a:srgbClr val="263147"/>
              </a:solidFill>
            </a:endParaRPr>
          </a:p>
        </p:txBody>
      </p:sp>
    </p:spTree>
    <p:extLst>
      <p:ext uri="{BB962C8B-B14F-4D97-AF65-F5344CB8AC3E}">
        <p14:creationId xmlns:p14="http://schemas.microsoft.com/office/powerpoint/2010/main" val="5271582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512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Proble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611826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61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inuous Integration (CI)?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7"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880464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7843" name="Picture 3"/>
          <p:cNvPicPr>
            <a:picLocks noChangeAspect="1" noChangeArrowheads="1"/>
          </p:cNvPicPr>
          <p:nvPr/>
        </p:nvPicPr>
        <p:blipFill>
          <a:blip r:embed="rId7" cstate="print"/>
          <a:srcRect/>
          <a:stretch>
            <a:fillRect/>
          </a:stretch>
        </p:blipFill>
        <p:spPr bwMode="auto">
          <a:xfrm>
            <a:off x="819150" y="1165001"/>
            <a:ext cx="8267700" cy="5153025"/>
          </a:xfrm>
          <a:prstGeom prst="rect">
            <a:avLst/>
          </a:prstGeom>
          <a:noFill/>
          <a:ln w="9525">
            <a:noFill/>
            <a:miter lim="800000"/>
            <a:headEnd/>
            <a:tailEnd/>
          </a:ln>
        </p:spPr>
      </p:pic>
    </p:spTree>
    <p:extLst>
      <p:ext uri="{BB962C8B-B14F-4D97-AF65-F5344CB8AC3E}">
        <p14:creationId xmlns:p14="http://schemas.microsoft.com/office/powerpoint/2010/main" val="7989845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819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8867" name="Picture 3"/>
          <p:cNvPicPr>
            <a:picLocks noChangeAspect="1" noChangeArrowheads="1"/>
          </p:cNvPicPr>
          <p:nvPr/>
        </p:nvPicPr>
        <p:blipFill>
          <a:blip r:embed="rId7" cstate="print"/>
          <a:srcRect/>
          <a:stretch>
            <a:fillRect/>
          </a:stretch>
        </p:blipFill>
        <p:spPr bwMode="auto">
          <a:xfrm>
            <a:off x="1967695" y="1377086"/>
            <a:ext cx="6671479" cy="4585564"/>
          </a:xfrm>
          <a:prstGeom prst="rect">
            <a:avLst/>
          </a:prstGeom>
          <a:noFill/>
          <a:ln w="9525">
            <a:noFill/>
            <a:miter lim="800000"/>
            <a:headEnd/>
            <a:tailEnd/>
          </a:ln>
        </p:spPr>
      </p:pic>
    </p:spTree>
    <p:extLst>
      <p:ext uri="{BB962C8B-B14F-4D97-AF65-F5344CB8AC3E}">
        <p14:creationId xmlns:p14="http://schemas.microsoft.com/office/powerpoint/2010/main" val="1118277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Installing </a:t>
            </a:r>
            <a:r>
              <a:rPr lang="en-US" dirty="0" smtClean="0"/>
              <a:t>Bamboo</a:t>
            </a:r>
            <a:endParaRPr lang="en-US" dirty="0"/>
          </a:p>
        </p:txBody>
      </p:sp>
    </p:spTree>
    <p:extLst>
      <p:ext uri="{BB962C8B-B14F-4D97-AF65-F5344CB8AC3E}">
        <p14:creationId xmlns:p14="http://schemas.microsoft.com/office/powerpoint/2010/main" val="17753923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92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amboo: Configs / Pric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8"/>
          <p:cNvSpPr/>
          <p:nvPr/>
        </p:nvSpPr>
        <p:spPr>
          <a:xfrm>
            <a:off x="937067" y="1346437"/>
            <a:ext cx="6875844" cy="4478149"/>
          </a:xfrm>
          <a:prstGeom prst="rect">
            <a:avLst/>
          </a:prstGeom>
        </p:spPr>
        <p:txBody>
          <a:bodyPr wrap="square">
            <a:spAutoFit/>
          </a:bodyPr>
          <a:lstStyle/>
          <a:p>
            <a:pPr>
              <a:lnSpc>
                <a:spcPct val="150000"/>
              </a:lnSpc>
              <a:buFont typeface="Arial" pitchFamily="34" charset="0"/>
              <a:buChar char="•"/>
            </a:pPr>
            <a:r>
              <a:rPr lang="en-US" dirty="0" smtClean="0"/>
              <a:t>OnDemand and Download versions</a:t>
            </a:r>
          </a:p>
          <a:p>
            <a:pPr lvl="1">
              <a:lnSpc>
                <a:spcPct val="150000"/>
              </a:lnSpc>
              <a:buFont typeface="Arial" pitchFamily="34" charset="0"/>
              <a:buChar char="•"/>
            </a:pPr>
            <a:r>
              <a:rPr lang="en-US" dirty="0" smtClean="0"/>
              <a:t>OnDemand is AWS-hosted solution</a:t>
            </a:r>
          </a:p>
          <a:p>
            <a:pPr lvl="1">
              <a:lnSpc>
                <a:spcPct val="150000"/>
              </a:lnSpc>
              <a:buFont typeface="Arial" pitchFamily="34" charset="0"/>
              <a:buChar char="•"/>
            </a:pPr>
            <a:r>
              <a:rPr lang="en-US" dirty="0" smtClean="0"/>
              <a:t>Downloads for Unix/Linux, Mac, Windows available </a:t>
            </a:r>
          </a:p>
          <a:p>
            <a:pPr>
              <a:lnSpc>
                <a:spcPct val="150000"/>
              </a:lnSpc>
              <a:buFont typeface="Arial" pitchFamily="34" charset="0"/>
              <a:buChar char="•"/>
            </a:pPr>
            <a:r>
              <a:rPr lang="en-US" dirty="0" smtClean="0"/>
              <a:t>30 day free trial</a:t>
            </a:r>
          </a:p>
          <a:p>
            <a:pPr>
              <a:lnSpc>
                <a:spcPct val="150000"/>
              </a:lnSpc>
              <a:buFont typeface="Arial" pitchFamily="34" charset="0"/>
              <a:buChar char="•"/>
            </a:pPr>
            <a:r>
              <a:rPr lang="en-US" dirty="0" smtClean="0"/>
              <a:t>For a typical startup producing a normal web app (imagine yet another iteration of “social”), for unlimited jobs and 1 – 10 build agents: </a:t>
            </a:r>
          </a:p>
          <a:p>
            <a:pPr lvl="1">
              <a:lnSpc>
                <a:spcPct val="150000"/>
              </a:lnSpc>
              <a:buFont typeface="Arial" pitchFamily="34" charset="0"/>
              <a:buChar char="•"/>
            </a:pPr>
            <a:r>
              <a:rPr lang="en-US" dirty="0" smtClean="0"/>
              <a:t>OnDemand: $50 - $250/month </a:t>
            </a:r>
          </a:p>
          <a:p>
            <a:pPr lvl="1">
              <a:lnSpc>
                <a:spcPct val="150000"/>
              </a:lnSpc>
              <a:buFont typeface="Arial" pitchFamily="34" charset="0"/>
              <a:buChar char="•"/>
            </a:pPr>
            <a:r>
              <a:rPr lang="en-US" dirty="0" smtClean="0"/>
              <a:t>Download: $800 - $4,000/month</a:t>
            </a:r>
          </a:p>
          <a:p>
            <a:pPr>
              <a:lnSpc>
                <a:spcPct val="150000"/>
              </a:lnSpc>
              <a:buFont typeface="Arial" pitchFamily="34" charset="0"/>
              <a:buChar char="•"/>
            </a:pPr>
            <a:r>
              <a:rPr lang="en-US" dirty="0" smtClean="0"/>
              <a:t>Higher price points for up to 100 agents available</a:t>
            </a:r>
            <a:endParaRPr lang="en-US" dirty="0"/>
          </a:p>
        </p:txBody>
      </p:sp>
    </p:spTree>
    <p:extLst>
      <p:ext uri="{BB962C8B-B14F-4D97-AF65-F5344CB8AC3E}">
        <p14:creationId xmlns:p14="http://schemas.microsoft.com/office/powerpoint/2010/main" val="2581782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02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0915" name="Picture 3"/>
          <p:cNvPicPr>
            <a:picLocks noChangeAspect="1" noChangeArrowheads="1"/>
          </p:cNvPicPr>
          <p:nvPr/>
        </p:nvPicPr>
        <p:blipFill>
          <a:blip r:embed="rId7" cstate="print"/>
          <a:srcRect/>
          <a:stretch>
            <a:fillRect/>
          </a:stretch>
        </p:blipFill>
        <p:spPr bwMode="auto">
          <a:xfrm>
            <a:off x="1292627" y="1329039"/>
            <a:ext cx="7181850" cy="5010150"/>
          </a:xfrm>
          <a:prstGeom prst="rect">
            <a:avLst/>
          </a:prstGeom>
          <a:noFill/>
          <a:ln w="9525">
            <a:noFill/>
            <a:miter lim="800000"/>
            <a:headEnd/>
            <a:tailEnd/>
          </a:ln>
        </p:spPr>
      </p:pic>
    </p:spTree>
    <p:extLst>
      <p:ext uri="{BB962C8B-B14F-4D97-AF65-F5344CB8AC3E}">
        <p14:creationId xmlns:p14="http://schemas.microsoft.com/office/powerpoint/2010/main" val="219079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Refactoring</a:t>
            </a:r>
          </a:p>
        </p:txBody>
      </p:sp>
      <p:sp>
        <p:nvSpPr>
          <p:cNvPr id="3" name="Content Placeholder 2"/>
          <p:cNvSpPr>
            <a:spLocks noGrp="1"/>
          </p:cNvSpPr>
          <p:nvPr>
            <p:ph sz="quarter" idx="10"/>
          </p:nvPr>
        </p:nvSpPr>
        <p:spPr/>
        <p:txBody>
          <a:bodyPr/>
          <a:lstStyle/>
          <a:p>
            <a:r>
              <a:rPr lang="en-US" sz="1800" dirty="0" smtClean="0"/>
              <a:t>Red /Green / Refactor</a:t>
            </a:r>
          </a:p>
          <a:p>
            <a:endParaRPr lang="en-US" sz="1800" dirty="0" smtClean="0"/>
          </a:p>
          <a:p>
            <a:r>
              <a:rPr lang="en-US" sz="1800" b="1" dirty="0" smtClean="0"/>
              <a:t>Where to Refactor</a:t>
            </a:r>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126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 Us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389024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Creating a Simple Job</a:t>
            </a:r>
          </a:p>
        </p:txBody>
      </p:sp>
    </p:spTree>
    <p:extLst>
      <p:ext uri="{BB962C8B-B14F-4D97-AF65-F5344CB8AC3E}">
        <p14:creationId xmlns:p14="http://schemas.microsoft.com/office/powerpoint/2010/main" val="14638069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229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3987" name="Picture 3"/>
          <p:cNvPicPr>
            <a:picLocks noChangeAspect="1" noChangeArrowheads="1"/>
          </p:cNvPicPr>
          <p:nvPr/>
        </p:nvPicPr>
        <p:blipFill>
          <a:blip r:embed="rId7" cstate="print"/>
          <a:srcRect/>
          <a:stretch>
            <a:fillRect/>
          </a:stretch>
        </p:blipFill>
        <p:spPr bwMode="auto">
          <a:xfrm>
            <a:off x="951294" y="1245304"/>
            <a:ext cx="8420100" cy="5038725"/>
          </a:xfrm>
          <a:prstGeom prst="rect">
            <a:avLst/>
          </a:prstGeom>
          <a:noFill/>
          <a:ln w="9525">
            <a:noFill/>
            <a:miter lim="800000"/>
            <a:headEnd/>
            <a:tailEnd/>
          </a:ln>
        </p:spPr>
      </p:pic>
    </p:spTree>
    <p:extLst>
      <p:ext uri="{BB962C8B-B14F-4D97-AF65-F5344CB8AC3E}">
        <p14:creationId xmlns:p14="http://schemas.microsoft.com/office/powerpoint/2010/main" val="36700843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33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5011" name="Picture 3"/>
          <p:cNvPicPr>
            <a:picLocks noChangeAspect="1" noChangeArrowheads="1"/>
          </p:cNvPicPr>
          <p:nvPr/>
        </p:nvPicPr>
        <p:blipFill>
          <a:blip r:embed="rId7" cstate="print"/>
          <a:srcRect/>
          <a:stretch>
            <a:fillRect/>
          </a:stretch>
        </p:blipFill>
        <p:spPr bwMode="auto">
          <a:xfrm>
            <a:off x="790034" y="1166331"/>
            <a:ext cx="8696325" cy="5057775"/>
          </a:xfrm>
          <a:prstGeom prst="rect">
            <a:avLst/>
          </a:prstGeom>
          <a:noFill/>
          <a:ln w="9525">
            <a:noFill/>
            <a:miter lim="800000"/>
            <a:headEnd/>
            <a:tailEnd/>
          </a:ln>
        </p:spPr>
      </p:pic>
    </p:spTree>
    <p:extLst>
      <p:ext uri="{BB962C8B-B14F-4D97-AF65-F5344CB8AC3E}">
        <p14:creationId xmlns:p14="http://schemas.microsoft.com/office/powerpoint/2010/main" val="26815285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43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Build Proces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val="28595992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53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Bamboo Setup</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983365" y="1534654"/>
            <a:ext cx="6922143" cy="4039567"/>
          </a:xfrm>
          <a:prstGeom prst="rect">
            <a:avLst/>
          </a:prstGeom>
        </p:spPr>
        <p:txBody>
          <a:bodyPr wrap="square">
            <a:spAutoFit/>
          </a:bodyPr>
          <a:lstStyle/>
          <a:p>
            <a:pPr>
              <a:lnSpc>
                <a:spcPct val="150000"/>
              </a:lnSpc>
              <a:buFont typeface="Arial" pitchFamily="34" charset="0"/>
              <a:buChar char="•"/>
            </a:pPr>
            <a:r>
              <a:rPr lang="en-US" dirty="0" smtClean="0"/>
              <a:t>Configure the default local agent </a:t>
            </a:r>
          </a:p>
          <a:p>
            <a:pPr lvl="1">
              <a:lnSpc>
                <a:spcPct val="150000"/>
              </a:lnSpc>
              <a:buFont typeface="Arial" pitchFamily="34" charset="0"/>
              <a:buChar char="•"/>
            </a:pPr>
            <a:r>
              <a:rPr lang="en-US" dirty="0" smtClean="0"/>
              <a:t>Sets JDK, builder, etc capabilities</a:t>
            </a:r>
          </a:p>
          <a:p>
            <a:pPr>
              <a:lnSpc>
                <a:spcPct val="150000"/>
              </a:lnSpc>
              <a:buFont typeface="Arial" pitchFamily="34" charset="0"/>
              <a:buChar char="•"/>
            </a:pPr>
            <a:r>
              <a:rPr lang="en-US" dirty="0" smtClean="0"/>
              <a:t>Create a new plan </a:t>
            </a:r>
          </a:p>
          <a:p>
            <a:pPr lvl="1">
              <a:lnSpc>
                <a:spcPct val="150000"/>
              </a:lnSpc>
              <a:buFont typeface="Arial" pitchFamily="34" charset="0"/>
              <a:buChar char="•"/>
            </a:pPr>
            <a:r>
              <a:rPr lang="en-US" dirty="0" smtClean="0"/>
              <a:t>Build plan is the recipe for a build </a:t>
            </a:r>
          </a:p>
          <a:p>
            <a:pPr lvl="1">
              <a:lnSpc>
                <a:spcPct val="150000"/>
              </a:lnSpc>
              <a:buFont typeface="Arial" pitchFamily="34" charset="0"/>
              <a:buChar char="•"/>
            </a:pPr>
            <a:r>
              <a:rPr lang="en-US" dirty="0" smtClean="0"/>
              <a:t>Defines what gets built (</a:t>
            </a:r>
            <a:r>
              <a:rPr lang="en-US" dirty="0" err="1" smtClean="0"/>
              <a:t>svn</a:t>
            </a:r>
            <a:r>
              <a:rPr lang="en-US" dirty="0" smtClean="0"/>
              <a:t> repo), how build is triggered, what builder (compiler) to use, artifacts to be created, etc </a:t>
            </a:r>
          </a:p>
          <a:p>
            <a:pPr lvl="1">
              <a:lnSpc>
                <a:spcPct val="150000"/>
              </a:lnSpc>
              <a:buFont typeface="Arial" pitchFamily="34" charset="0"/>
              <a:buChar char="•"/>
            </a:pPr>
            <a:r>
              <a:rPr lang="en-US" dirty="0" smtClean="0"/>
              <a:t>Always associated with a project </a:t>
            </a:r>
          </a:p>
          <a:p>
            <a:pPr lvl="1">
              <a:lnSpc>
                <a:spcPct val="150000"/>
              </a:lnSpc>
              <a:buFont typeface="Arial" pitchFamily="34" charset="0"/>
              <a:buChar char="•"/>
            </a:pPr>
            <a:r>
              <a:rPr lang="en-US" dirty="0" smtClean="0"/>
              <a:t>Define the trigger that will initiate the build </a:t>
            </a:r>
          </a:p>
          <a:p>
            <a:pPr lvl="1">
              <a:lnSpc>
                <a:spcPct val="150000"/>
              </a:lnSpc>
              <a:buFont typeface="Arial" pitchFamily="34" charset="0"/>
              <a:buChar char="•"/>
            </a:pPr>
            <a:r>
              <a:rPr lang="en-US" dirty="0" smtClean="0"/>
              <a:t>Next screen shows screenshot of this step </a:t>
            </a:r>
            <a:endParaRPr lang="en-US" dirty="0"/>
          </a:p>
        </p:txBody>
      </p:sp>
    </p:spTree>
    <p:extLst>
      <p:ext uri="{BB962C8B-B14F-4D97-AF65-F5344CB8AC3E}">
        <p14:creationId xmlns:p14="http://schemas.microsoft.com/office/powerpoint/2010/main" val="13675210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Create a Plan</a:t>
            </a:r>
          </a:p>
        </p:txBody>
      </p:sp>
      <p:pic>
        <p:nvPicPr>
          <p:cNvPr id="4" name="Content Placeholder 3"/>
          <p:cNvPicPr>
            <a:picLocks noGrp="1" noChangeAspect="1" noChangeArrowheads="1"/>
          </p:cNvPicPr>
          <p:nvPr>
            <p:ph sz="quarter" idx="10"/>
          </p:nvPr>
        </p:nvPicPr>
        <p:blipFill>
          <a:blip r:embed="rId2" cstate="print"/>
          <a:srcRect/>
          <a:stretch>
            <a:fillRect/>
          </a:stretch>
        </p:blipFill>
        <p:spPr bwMode="auto">
          <a:xfrm>
            <a:off x="2136775" y="1541462"/>
            <a:ext cx="5629275" cy="4524375"/>
          </a:xfrm>
          <a:prstGeom prst="rect">
            <a:avLst/>
          </a:prstGeom>
          <a:noFill/>
          <a:ln w="9525">
            <a:noFill/>
            <a:miter lim="800000"/>
            <a:headEnd/>
            <a:tailEnd/>
          </a:ln>
        </p:spPr>
      </p:pic>
    </p:spTree>
    <p:extLst>
      <p:ext uri="{BB962C8B-B14F-4D97-AF65-F5344CB8AC3E}">
        <p14:creationId xmlns:p14="http://schemas.microsoft.com/office/powerpoint/2010/main" val="2021622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Execution</a:t>
            </a:r>
          </a:p>
        </p:txBody>
      </p:sp>
      <p:sp>
        <p:nvSpPr>
          <p:cNvPr id="3" name="Content Placeholder 2"/>
          <p:cNvSpPr>
            <a:spLocks noGrp="1"/>
          </p:cNvSpPr>
          <p:nvPr>
            <p:ph sz="quarter" idx="10"/>
          </p:nvPr>
        </p:nvSpPr>
        <p:spPr>
          <a:xfrm>
            <a:off x="317501" y="1511300"/>
            <a:ext cx="9267824" cy="1694887"/>
          </a:xfrm>
        </p:spPr>
        <p:txBody>
          <a:bodyPr/>
          <a:lstStyle/>
          <a:p>
            <a:r>
              <a:rPr lang="en-US" sz="1800" dirty="0" smtClean="0"/>
              <a:t>After plan run, everything can be evaluated </a:t>
            </a:r>
          </a:p>
          <a:p>
            <a:pPr lvl="1"/>
            <a:r>
              <a:rPr lang="en-US" sz="1800" dirty="0" smtClean="0"/>
              <a:t>Test results </a:t>
            </a:r>
          </a:p>
          <a:p>
            <a:pPr lvl="1"/>
            <a:r>
              <a:rPr lang="en-US" sz="1800" dirty="0" smtClean="0"/>
              <a:t>Build log </a:t>
            </a:r>
          </a:p>
          <a:p>
            <a:pPr lvl="1"/>
            <a:r>
              <a:rPr lang="en-US" sz="1800" dirty="0" smtClean="0"/>
              <a:t>Build artifacts</a:t>
            </a:r>
            <a:endParaRPr lang="en-US" sz="1800" dirty="0"/>
          </a:p>
        </p:txBody>
      </p:sp>
      <p:pic>
        <p:nvPicPr>
          <p:cNvPr id="2068482" name="Picture 2"/>
          <p:cNvPicPr>
            <a:picLocks noChangeAspect="1" noChangeArrowheads="1"/>
          </p:cNvPicPr>
          <p:nvPr/>
        </p:nvPicPr>
        <p:blipFill>
          <a:blip r:embed="rId2" cstate="print"/>
          <a:srcRect/>
          <a:stretch>
            <a:fillRect/>
          </a:stretch>
        </p:blipFill>
        <p:spPr bwMode="auto">
          <a:xfrm>
            <a:off x="1255853" y="3014120"/>
            <a:ext cx="7162800" cy="3028950"/>
          </a:xfrm>
          <a:prstGeom prst="rect">
            <a:avLst/>
          </a:prstGeom>
          <a:noFill/>
          <a:ln w="9525">
            <a:noFill/>
            <a:miter lim="800000"/>
            <a:headEnd/>
            <a:tailEnd/>
          </a:ln>
        </p:spPr>
      </p:pic>
    </p:spTree>
    <p:extLst>
      <p:ext uri="{BB962C8B-B14F-4D97-AF65-F5344CB8AC3E}">
        <p14:creationId xmlns:p14="http://schemas.microsoft.com/office/powerpoint/2010/main" val="27664944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sz="3600" kern="0" dirty="0" smtClean="0">
                <a:solidFill>
                  <a:schemeClr val="accent5"/>
                </a:solidFill>
                <a:latin typeface="Arial Narrow" pitchFamily="34" charset="0"/>
              </a:rPr>
              <a:t>Bamboo: Execution </a:t>
            </a:r>
            <a:br>
              <a:rPr lang="en-US" sz="3600" kern="0" dirty="0" smtClean="0">
                <a:solidFill>
                  <a:schemeClr val="accent5"/>
                </a:solidFill>
                <a:latin typeface="Arial Narrow" pitchFamily="34" charset="0"/>
              </a:rPr>
            </a:br>
            <a:endParaRPr lang="en-US" sz="3600" kern="0" dirty="0" smtClean="0">
              <a:solidFill>
                <a:schemeClr val="accent5"/>
              </a:solidFill>
              <a:latin typeface="Arial Narrow" pitchFamily="34" charset="0"/>
            </a:endParaRPr>
          </a:p>
        </p:txBody>
      </p:sp>
      <p:sp>
        <p:nvSpPr>
          <p:cNvPr id="3" name="Content Placeholder 2"/>
          <p:cNvSpPr>
            <a:spLocks noGrp="1"/>
          </p:cNvSpPr>
          <p:nvPr>
            <p:ph sz="quarter" idx="10"/>
          </p:nvPr>
        </p:nvSpPr>
        <p:spPr/>
        <p:txBody>
          <a:bodyPr/>
          <a:lstStyle/>
          <a:p>
            <a:pPr lvl="1"/>
            <a:r>
              <a:rPr lang="en-US" sz="1800" dirty="0" smtClean="0"/>
              <a:t>Failed builds do not simply result in a failure message </a:t>
            </a:r>
          </a:p>
          <a:p>
            <a:pPr lvl="1"/>
            <a:r>
              <a:rPr lang="en-US" sz="1800" dirty="0" smtClean="0"/>
              <a:t>Get deep analytics into trouble sports </a:t>
            </a:r>
          </a:p>
          <a:p>
            <a:pPr lvl="1"/>
            <a:r>
              <a:rPr lang="en-US" sz="1800" dirty="0" smtClean="0"/>
              <a:t>Stack traces </a:t>
            </a:r>
          </a:p>
          <a:p>
            <a:pPr lvl="1"/>
            <a:r>
              <a:rPr lang="en-US" sz="1800" dirty="0" smtClean="0"/>
              <a:t>Drill into context by viewing changes to build attempt with JIRA and Fisheye </a:t>
            </a:r>
            <a:endParaRPr lang="en-US" sz="1800" dirty="0"/>
          </a:p>
        </p:txBody>
      </p:sp>
    </p:spTree>
    <p:extLst>
      <p:ext uri="{BB962C8B-B14F-4D97-AF65-F5344CB8AC3E}">
        <p14:creationId xmlns:p14="http://schemas.microsoft.com/office/powerpoint/2010/main" val="4231733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Release and Capabilities</a:t>
            </a:r>
          </a:p>
        </p:txBody>
      </p:sp>
      <p:sp>
        <p:nvSpPr>
          <p:cNvPr id="3" name="Content Placeholder 2"/>
          <p:cNvSpPr>
            <a:spLocks noGrp="1"/>
          </p:cNvSpPr>
          <p:nvPr>
            <p:ph sz="quarter" idx="10"/>
          </p:nvPr>
        </p:nvSpPr>
        <p:spPr/>
        <p:txBody>
          <a:bodyPr/>
          <a:lstStyle/>
          <a:p>
            <a:pPr>
              <a:buNone/>
            </a:pPr>
            <a:r>
              <a:rPr lang="en-US" sz="1800" b="1" u="sng" dirty="0" smtClean="0"/>
              <a:t>Release:</a:t>
            </a:r>
          </a:p>
          <a:p>
            <a:r>
              <a:rPr lang="en-US" sz="1800" dirty="0" smtClean="0"/>
              <a:t>Build release pipeline in stages to facilitate automated release </a:t>
            </a:r>
          </a:p>
          <a:p>
            <a:pPr lvl="1"/>
            <a:r>
              <a:rPr lang="en-US" sz="1800" dirty="0" smtClean="0"/>
              <a:t>Release using JIRA, build with Bamboo </a:t>
            </a:r>
          </a:p>
          <a:p>
            <a:pPr lvl="1"/>
            <a:r>
              <a:rPr lang="en-US" sz="1800" dirty="0" smtClean="0"/>
              <a:t>Seeing a trend here? Bamboo and JIRA are tightly coupled </a:t>
            </a:r>
          </a:p>
          <a:p>
            <a:pPr>
              <a:buNone/>
            </a:pPr>
            <a:endParaRPr lang="en-US" sz="1800" b="1" u="sng" dirty="0" smtClean="0"/>
          </a:p>
          <a:p>
            <a:pPr>
              <a:buNone/>
            </a:pPr>
            <a:r>
              <a:rPr lang="en-US" sz="1800" b="1" u="sng" dirty="0" smtClean="0"/>
              <a:t>Capabilities:</a:t>
            </a:r>
          </a:p>
          <a:p>
            <a:r>
              <a:rPr lang="en-US" sz="1800" dirty="0" smtClean="0"/>
              <a:t>Integrates with many source control systems </a:t>
            </a:r>
          </a:p>
          <a:p>
            <a:pPr lvl="1"/>
            <a:r>
              <a:rPr lang="en-US" sz="1800" dirty="0" smtClean="0"/>
              <a:t>Subversion, Mercurial, </a:t>
            </a:r>
            <a:r>
              <a:rPr lang="en-US" sz="1800" dirty="0" err="1" smtClean="0"/>
              <a:t>Git</a:t>
            </a:r>
            <a:r>
              <a:rPr lang="en-US" sz="1800" dirty="0" smtClean="0"/>
              <a:t>, Perforce, CVS </a:t>
            </a:r>
          </a:p>
          <a:p>
            <a:pPr lvl="1"/>
            <a:r>
              <a:rPr lang="en-US" sz="1800" dirty="0" smtClean="0"/>
              <a:t>Same for the popular build systems </a:t>
            </a:r>
          </a:p>
          <a:p>
            <a:pPr lvl="1"/>
            <a:r>
              <a:rPr lang="en-US" sz="1800" dirty="0" smtClean="0"/>
              <a:t>Ant, Maven, Make, Command Line, </a:t>
            </a:r>
            <a:r>
              <a:rPr lang="en-US" sz="1800" dirty="0" err="1" smtClean="0"/>
              <a:t>MSBuild</a:t>
            </a:r>
            <a:r>
              <a:rPr lang="en-US" sz="1800" dirty="0" smtClean="0"/>
              <a:t> </a:t>
            </a:r>
          </a:p>
          <a:p>
            <a:pPr lvl="1"/>
            <a:r>
              <a:rPr lang="en-US" sz="1800" dirty="0" smtClean="0"/>
              <a:t>Ditto for test automation </a:t>
            </a:r>
          </a:p>
          <a:p>
            <a:pPr lvl="1"/>
            <a:r>
              <a:rPr lang="en-US" sz="1800" dirty="0" err="1" smtClean="0"/>
              <a:t>Junit</a:t>
            </a:r>
            <a:r>
              <a:rPr lang="en-US" sz="1800" dirty="0" smtClean="0"/>
              <a:t>, Selenium, </a:t>
            </a:r>
            <a:r>
              <a:rPr lang="en-US" sz="1800" dirty="0" err="1" smtClean="0"/>
              <a:t>PHPUnit</a:t>
            </a:r>
            <a:endParaRPr lang="en-US" sz="1800" dirty="0"/>
          </a:p>
        </p:txBody>
      </p:sp>
    </p:spTree>
    <p:extLst>
      <p:ext uri="{BB962C8B-B14F-4D97-AF65-F5344CB8AC3E}">
        <p14:creationId xmlns:p14="http://schemas.microsoft.com/office/powerpoint/2010/main" val="3088793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First Development (TFD)</a:t>
            </a:r>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Builds</a:t>
            </a:r>
          </a:p>
        </p:txBody>
      </p:sp>
      <p:sp>
        <p:nvSpPr>
          <p:cNvPr id="3" name="Content Placeholder 2"/>
          <p:cNvSpPr>
            <a:spLocks noGrp="1"/>
          </p:cNvSpPr>
          <p:nvPr>
            <p:ph sz="quarter" idx="10"/>
          </p:nvPr>
        </p:nvSpPr>
        <p:spPr/>
        <p:txBody>
          <a:bodyPr/>
          <a:lstStyle/>
          <a:p>
            <a:r>
              <a:rPr lang="en-US" sz="1800" dirty="0" smtClean="0"/>
              <a:t>Build Triggers</a:t>
            </a:r>
          </a:p>
          <a:p>
            <a:r>
              <a:rPr lang="en-US" sz="1800" dirty="0" smtClean="0"/>
              <a:t>Build Dependencies</a:t>
            </a:r>
          </a:p>
          <a:p>
            <a:r>
              <a:rPr lang="en-US" sz="1800" dirty="0" smtClean="0"/>
              <a:t>Queue Management</a:t>
            </a:r>
          </a:p>
          <a:p>
            <a:endParaRPr lang="en-US" sz="1800" dirty="0"/>
          </a:p>
        </p:txBody>
      </p:sp>
    </p:spTree>
    <p:extLst>
      <p:ext uri="{BB962C8B-B14F-4D97-AF65-F5344CB8AC3E}">
        <p14:creationId xmlns:p14="http://schemas.microsoft.com/office/powerpoint/2010/main" val="38324881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63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4351793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741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6216430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Notifications</a:t>
            </a:r>
          </a:p>
        </p:txBody>
      </p:sp>
      <p:sp>
        <p:nvSpPr>
          <p:cNvPr id="3" name="Content Placeholder 2"/>
          <p:cNvSpPr>
            <a:spLocks noGrp="1"/>
          </p:cNvSpPr>
          <p:nvPr>
            <p:ph sz="quarter" idx="10"/>
          </p:nvPr>
        </p:nvSpPr>
        <p:spPr/>
        <p:txBody>
          <a:bodyPr/>
          <a:lstStyle/>
          <a:p>
            <a:r>
              <a:rPr lang="en-US" sz="1800" dirty="0" smtClean="0"/>
              <a:t>Everything you would expect from a CI system </a:t>
            </a:r>
          </a:p>
          <a:p>
            <a:pPr lvl="1"/>
            <a:r>
              <a:rPr lang="en-US" sz="1800" dirty="0" smtClean="0"/>
              <a:t>SMS </a:t>
            </a:r>
          </a:p>
          <a:p>
            <a:pPr lvl="1"/>
            <a:r>
              <a:rPr lang="en-US" sz="1800" dirty="0" smtClean="0"/>
              <a:t>Email </a:t>
            </a:r>
          </a:p>
          <a:p>
            <a:pPr lvl="1"/>
            <a:r>
              <a:rPr lang="en-US" sz="1800" dirty="0" smtClean="0"/>
              <a:t>RSS </a:t>
            </a:r>
          </a:p>
          <a:p>
            <a:pPr lvl="1"/>
            <a:r>
              <a:rPr lang="en-US" sz="1800" dirty="0" smtClean="0"/>
              <a:t>IM </a:t>
            </a:r>
          </a:p>
          <a:p>
            <a:pPr lvl="2"/>
            <a:r>
              <a:rPr lang="en-US" sz="1800" dirty="0" smtClean="0"/>
              <a:t>Two-way IM permits adding comments/labels to build results without entering Bamboo </a:t>
            </a:r>
            <a:endParaRPr lang="en-US" sz="1800" dirty="0"/>
          </a:p>
        </p:txBody>
      </p:sp>
    </p:spTree>
    <p:extLst>
      <p:ext uri="{BB962C8B-B14F-4D97-AF65-F5344CB8AC3E}">
        <p14:creationId xmlns:p14="http://schemas.microsoft.com/office/powerpoint/2010/main" val="10561025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843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TextBox 6"/>
          <p:cNvSpPr txBox="1"/>
          <p:nvPr/>
        </p:nvSpPr>
        <p:spPr>
          <a:xfrm>
            <a:off x="2361235" y="1574157"/>
            <a:ext cx="6389226" cy="3000821"/>
          </a:xfrm>
          <a:prstGeom prst="rect">
            <a:avLst/>
          </a:prstGeom>
          <a:noFill/>
        </p:spPr>
        <p:txBody>
          <a:bodyPr wrap="square" rtlCol="0">
            <a:spAutoFit/>
          </a:bodyPr>
          <a:lstStyle/>
          <a:p>
            <a:pPr>
              <a:lnSpc>
                <a:spcPct val="150000"/>
              </a:lnSpc>
              <a:buFont typeface="Arial" pitchFamily="34" charset="0"/>
              <a:buChar char="•"/>
            </a:pPr>
            <a:r>
              <a:rPr lang="en-US" sz="1800" dirty="0" smtClean="0">
                <a:solidFill>
                  <a:schemeClr val="tx2">
                    <a:lumMod val="50000"/>
                  </a:schemeClr>
                </a:solidFill>
              </a:rPr>
              <a:t>Plan</a:t>
            </a:r>
          </a:p>
          <a:p>
            <a:pPr>
              <a:lnSpc>
                <a:spcPct val="150000"/>
              </a:lnSpc>
              <a:buFont typeface="Arial" pitchFamily="34" charset="0"/>
              <a:buChar char="•"/>
            </a:pPr>
            <a:r>
              <a:rPr lang="en-US" sz="1800" dirty="0" smtClean="0">
                <a:solidFill>
                  <a:schemeClr val="tx2">
                    <a:lumMod val="50000"/>
                  </a:schemeClr>
                </a:solidFill>
              </a:rPr>
              <a:t>Execution</a:t>
            </a:r>
          </a:p>
          <a:p>
            <a:pPr>
              <a:lnSpc>
                <a:spcPct val="150000"/>
              </a:lnSpc>
              <a:buFont typeface="Arial" pitchFamily="34" charset="0"/>
              <a:buChar char="•"/>
            </a:pPr>
            <a:r>
              <a:rPr lang="en-US" sz="1800" dirty="0" smtClean="0">
                <a:solidFill>
                  <a:schemeClr val="tx2">
                    <a:lumMod val="50000"/>
                  </a:schemeClr>
                </a:solidFill>
              </a:rPr>
              <a:t>Build</a:t>
            </a:r>
          </a:p>
          <a:p>
            <a:pPr>
              <a:lnSpc>
                <a:spcPct val="150000"/>
              </a:lnSpc>
              <a:buFont typeface="Arial" pitchFamily="34" charset="0"/>
              <a:buChar char="•"/>
            </a:pPr>
            <a:r>
              <a:rPr lang="en-US" sz="1800" dirty="0" smtClean="0">
                <a:solidFill>
                  <a:schemeClr val="tx2">
                    <a:lumMod val="50000"/>
                  </a:schemeClr>
                </a:solidFill>
              </a:rPr>
              <a:t>Release</a:t>
            </a:r>
          </a:p>
          <a:p>
            <a:pPr>
              <a:lnSpc>
                <a:spcPct val="150000"/>
              </a:lnSpc>
              <a:buFont typeface="Arial" pitchFamily="34" charset="0"/>
              <a:buChar char="•"/>
            </a:pPr>
            <a:r>
              <a:rPr lang="en-US" sz="1800" dirty="0" smtClean="0">
                <a:solidFill>
                  <a:schemeClr val="tx2">
                    <a:lumMod val="50000"/>
                  </a:schemeClr>
                </a:solidFill>
              </a:rPr>
              <a:t>Triggers</a:t>
            </a:r>
          </a:p>
          <a:p>
            <a:pPr>
              <a:lnSpc>
                <a:spcPct val="150000"/>
              </a:lnSpc>
              <a:buFont typeface="Arial" pitchFamily="34" charset="0"/>
              <a:buChar char="•"/>
            </a:pPr>
            <a:r>
              <a:rPr lang="en-US" sz="1800" dirty="0" smtClean="0">
                <a:solidFill>
                  <a:schemeClr val="tx2">
                    <a:lumMod val="50000"/>
                  </a:schemeClr>
                </a:solidFill>
              </a:rPr>
              <a:t>Notifications</a:t>
            </a:r>
          </a:p>
          <a:p>
            <a:pPr>
              <a:lnSpc>
                <a:spcPct val="150000"/>
              </a:lnSpc>
              <a:buFont typeface="Arial" pitchFamily="34" charset="0"/>
              <a:buChar char="•"/>
            </a:pPr>
            <a:endParaRPr lang="en-US" sz="1800" dirty="0" err="1" smtClean="0">
              <a:solidFill>
                <a:schemeClr val="tx2">
                  <a:lumMod val="50000"/>
                </a:schemeClr>
              </a:solidFill>
            </a:endParaRPr>
          </a:p>
        </p:txBody>
      </p:sp>
    </p:spTree>
    <p:extLst>
      <p:ext uri="{BB962C8B-B14F-4D97-AF65-F5344CB8AC3E}">
        <p14:creationId xmlns:p14="http://schemas.microsoft.com/office/powerpoint/2010/main" val="22571358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4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Flow</a:t>
            </a:r>
          </a:p>
        </p:txBody>
      </p:sp>
      <p:pic>
        <p:nvPicPr>
          <p:cNvPr id="7" name="Picture 2"/>
          <p:cNvPicPr>
            <a:picLocks noGrp="1" noChangeAspect="1" noChangeArrowheads="1"/>
          </p:cNvPicPr>
          <p:nvPr>
            <p:ph idx="4294967295"/>
          </p:nvPr>
        </p:nvPicPr>
        <p:blipFill>
          <a:blip r:embed="rId7"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4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eas of Discipline</a:t>
            </a: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4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4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 Coverage</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65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pic>
        <p:nvPicPr>
          <p:cNvPr id="9" name="Picture 2"/>
          <p:cNvPicPr>
            <a:picLocks noGrp="1" noChangeAspect="1" noChangeArrowheads="1"/>
          </p:cNvPicPr>
          <p:nvPr>
            <p:ph idx="4294967295"/>
          </p:nvPr>
        </p:nvPicPr>
        <p:blipFill>
          <a:blip r:embed="rId7"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DD and Traditional Testing</a:t>
            </a:r>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754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5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Quality Metrics</a:t>
            </a: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95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cations</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061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ocumentation</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16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ployments</a:t>
            </a: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400" b="1" dirty="0"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Installation</a:t>
            </a:r>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qube</a:t>
            </a:r>
            <a:endParaRPr lang="en-US" sz="1800"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
        <p:nvSpPr>
          <p:cNvPr id="5" name="Title 1"/>
          <p:cNvSpPr txBox="1">
            <a:spLocks/>
          </p:cNvSpPr>
          <p:nvPr/>
        </p:nvSpPr>
        <p:spPr>
          <a:xfrm>
            <a:off x="3" y="0"/>
            <a:ext cx="9905999" cy="1002135"/>
          </a:xfrm>
          <a:prstGeom prst="rect">
            <a:avLst/>
          </a:prstGeom>
        </p:spPr>
        <p:txBody>
          <a:bodyPr vert="horz" lIns="91440" tIns="45720" rIns="91440" bIns="45720" rtlCol="0" anchor="ctr">
            <a:norm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defTabSz="914400"/>
            <a:r>
              <a:rPr lang="en-US" sz="2400" dirty="0"/>
              <a:t>Sonar – Jenkins Configuration</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 Waterfall Test Process</a:t>
            </a: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7"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2296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352</TotalTime>
  <Words>1152</Words>
  <Application>Microsoft Office PowerPoint</Application>
  <PresentationFormat>A4 Paper (210x297 mm)</PresentationFormat>
  <Paragraphs>272</Paragraphs>
  <Slides>60</Slides>
  <Notes>40</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60</vt:i4>
      </vt:variant>
    </vt:vector>
  </HeadingPairs>
  <TitlesOfParts>
    <vt:vector size="13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Code Refactoring</vt:lpstr>
      <vt:lpstr>Test-First Development (TFD)</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Bamboo</vt:lpstr>
      <vt:lpstr>About Bamboo</vt:lpstr>
      <vt:lpstr>The Problem!</vt:lpstr>
      <vt:lpstr>What is Continuous Integration (CI)? </vt:lpstr>
      <vt:lpstr>Where Bamboo Fits In</vt:lpstr>
      <vt:lpstr>Where Bamboo Fits In (contd.)</vt:lpstr>
      <vt:lpstr>Installing Bamboo</vt:lpstr>
      <vt:lpstr>Bamboo: Configs / Pricing</vt:lpstr>
      <vt:lpstr>Nodes</vt:lpstr>
      <vt:lpstr>Node Uses</vt:lpstr>
      <vt:lpstr>Creating a Simple Job</vt:lpstr>
      <vt:lpstr>Our Project</vt:lpstr>
      <vt:lpstr>Our Project (contd.)</vt:lpstr>
      <vt:lpstr>Our Build Process</vt:lpstr>
      <vt:lpstr>Bamboo Setup</vt:lpstr>
      <vt:lpstr>Bamboo : Create a Plan</vt:lpstr>
      <vt:lpstr>Bamboo : Execution</vt:lpstr>
      <vt:lpstr> Bamboo: Execution  </vt:lpstr>
      <vt:lpstr>Bamboo : Release and Capabilities</vt:lpstr>
      <vt:lpstr>Bamboo : Builds</vt:lpstr>
      <vt:lpstr>Build Triggers</vt:lpstr>
      <vt:lpstr>Build Steps</vt:lpstr>
      <vt:lpstr>Bamboo : Notifications</vt:lpstr>
      <vt:lpstr>Summary</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PowerPoint Presentation</vt:lpstr>
      <vt:lpstr>Sonar Qube</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99</cp:revision>
  <dcterms:created xsi:type="dcterms:W3CDTF">2015-03-06T11:43:58Z</dcterms:created>
  <dcterms:modified xsi:type="dcterms:W3CDTF">2016-12-08T10: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